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87.xml" ContentType="application/vnd.openxmlformats-officedocument.presentationml.tags+xml"/>
  <Override PartName="/ppt/notesSlides/notesSlide4.xml" ContentType="application/vnd.openxmlformats-officedocument.presentationml.notesSlide+xml"/>
  <Override PartName="/ppt/tags/tag88.xml" ContentType="application/vnd.openxmlformats-officedocument.presentationml.tags+xml"/>
  <Override PartName="/ppt/notesSlides/notesSlide5.xml" ContentType="application/vnd.openxmlformats-officedocument.presentationml.notesSlide+xml"/>
  <Override PartName="/ppt/tags/tag89.xml" ContentType="application/vnd.openxmlformats-officedocument.presentationml.tags+xml"/>
  <Override PartName="/ppt/notesSlides/notesSlide6.xml" ContentType="application/vnd.openxmlformats-officedocument.presentationml.notesSlide+xml"/>
  <Override PartName="/ppt/tags/tag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7" r:id="rId1"/>
  </p:sldMasterIdLst>
  <p:notesMasterIdLst>
    <p:notesMasterId r:id="rId9"/>
  </p:notesMasterIdLst>
  <p:sldIdLst>
    <p:sldId id="256" r:id="rId2"/>
    <p:sldId id="290" r:id="rId3"/>
    <p:sldId id="295" r:id="rId4"/>
    <p:sldId id="294" r:id="rId5"/>
    <p:sldId id="297" r:id="rId6"/>
    <p:sldId id="298" r:id="rId7"/>
    <p:sldId id="299" r:id="rId8"/>
  </p:sldIdLst>
  <p:sldSz cx="9144000" cy="5143500" type="screen16x9"/>
  <p:notesSz cx="6858000" cy="9144000"/>
  <p:embeddedFontLst>
    <p:embeddedFont>
      <p:font typeface="Aptos Narrow" panose="020B0004020202020204" pitchFamily="34" charset="0"/>
      <p:regular r:id="rId10"/>
      <p:bold r:id="rId11"/>
      <p:italic r:id="rId12"/>
      <p:boldItalic r:id="rId13"/>
    </p:embeddedFont>
    <p:embeddedFont>
      <p:font typeface="Century Gothic" panose="020B0502020202020204" pitchFamily="34" charset="0"/>
      <p:regular r:id="rId14"/>
      <p:bold r:id="rId15"/>
      <p:italic r:id="rId16"/>
      <p:boldItalic r:id="rId17"/>
    </p:embeddedFont>
    <p:embeddedFont>
      <p:font typeface="Fira Sans Extra Condensed" panose="020B0503050000020004" pitchFamily="34" charset="0"/>
      <p:regular r:id="rId18"/>
      <p:bold r:id="rId19"/>
      <p:italic r:id="rId20"/>
      <p:boldItalic r:id="rId21"/>
    </p:embeddedFont>
    <p:embeddedFont>
      <p:font typeface="Fira Sans Extra Condensed Medium" panose="020B0604020202020204" charset="0"/>
      <p:regular r:id="rId22"/>
      <p:bold r:id="rId23"/>
      <p:italic r:id="rId24"/>
      <p:boldItalic r:id="rId25"/>
    </p:embeddedFont>
    <p:embeddedFont>
      <p:font typeface="Fira Sans Extra Condensed SemiBold" panose="020B0604020202020204" charset="0"/>
      <p:regular r:id="rId26"/>
      <p:bold r:id="rId27"/>
      <p:italic r:id="rId28"/>
      <p:boldItalic r:id="rId29"/>
    </p:embeddedFont>
    <p:embeddedFont>
      <p:font typeface="Roboto" panose="02000000000000000000" pitchFamily="2" charset="0"/>
      <p:regular r:id="rId30"/>
      <p:bold r:id="rId31"/>
      <p:italic r:id="rId32"/>
      <p:boldItalic r:id="rId33"/>
    </p:embeddedFont>
  </p:embeddedFontLst>
  <p:custDataLst>
    <p:tags r:id="rId3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C6D71"/>
    <a:srgbClr val="007DB0"/>
    <a:srgbClr val="8FFF8F"/>
    <a:srgbClr val="0079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C629C4-6431-425F-B77E-08276FAF528A}">
  <a:tblStyle styleId="{98C629C4-6431-425F-B77E-08276FAF528A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1" autoAdjust="0"/>
    <p:restoredTop sz="94660"/>
  </p:normalViewPr>
  <p:slideViewPr>
    <p:cSldViewPr snapToGrid="0">
      <p:cViewPr varScale="1">
        <p:scale>
          <a:sx n="134" d="100"/>
          <a:sy n="134" d="100"/>
        </p:scale>
        <p:origin x="380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font" Target="fonts/font17.fntdata"/><Relationship Id="rId21" Type="http://schemas.openxmlformats.org/officeDocument/2006/relationships/font" Target="fonts/font12.fntdata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font" Target="fonts/font16.fntdata"/><Relationship Id="rId33" Type="http://schemas.openxmlformats.org/officeDocument/2006/relationships/font" Target="fonts/font24.fntdata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29" Type="http://schemas.openxmlformats.org/officeDocument/2006/relationships/font" Target="fonts/font2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24" Type="http://schemas.openxmlformats.org/officeDocument/2006/relationships/font" Target="fonts/font15.fntdata"/><Relationship Id="rId32" Type="http://schemas.openxmlformats.org/officeDocument/2006/relationships/font" Target="fonts/font23.fntdata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font" Target="fonts/font14.fntdata"/><Relationship Id="rId28" Type="http://schemas.openxmlformats.org/officeDocument/2006/relationships/font" Target="fonts/font19.fntdata"/><Relationship Id="rId36" Type="http://schemas.openxmlformats.org/officeDocument/2006/relationships/viewProps" Target="viewProp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31" Type="http://schemas.openxmlformats.org/officeDocument/2006/relationships/font" Target="fonts/font22.fntdata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font" Target="fonts/font13.fntdata"/><Relationship Id="rId27" Type="http://schemas.openxmlformats.org/officeDocument/2006/relationships/font" Target="fonts/font18.fntdata"/><Relationship Id="rId30" Type="http://schemas.openxmlformats.org/officeDocument/2006/relationships/font" Target="fonts/font21.fntdata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527792482795129E-2"/>
          <c:y val="7.7766699900299108E-2"/>
          <c:w val="0.94494441503440973"/>
          <c:h val="0.844466600199401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47-4817-95CB-2EB4F06C1CED}"/>
                </c:ext>
              </c:extLst>
            </c:dLbl>
            <c:dLbl>
              <c:idx val="1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F47-4817-95CB-2EB4F06C1CED}"/>
                </c:ext>
              </c:extLst>
            </c:dLbl>
            <c:dLbl>
              <c:idx val="2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F47-4817-95CB-2EB4F06C1CED}"/>
                </c:ext>
              </c:extLst>
            </c:dLbl>
            <c:dLbl>
              <c:idx val="3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F47-4817-95CB-2EB4F06C1CED}"/>
                </c:ext>
              </c:extLst>
            </c:dLbl>
            <c:dLbl>
              <c:idx val="4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F47-4817-95CB-2EB4F06C1CED}"/>
                </c:ext>
              </c:extLst>
            </c:dLbl>
            <c:dLbl>
              <c:idx val="5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F47-4817-95CB-2EB4F06C1CED}"/>
                </c:ext>
              </c:extLst>
            </c:dLbl>
            <c:dLbl>
              <c:idx val="6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F47-4817-95CB-2EB4F06C1CED}"/>
                </c:ext>
              </c:extLst>
            </c:dLbl>
            <c:dLbl>
              <c:idx val="7"/>
              <c:layout>
                <c:manualLayout>
                  <c:x val="0"/>
                  <c:y val="-1.994017946161515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F47-4817-95CB-2EB4F06C1CED}"/>
                </c:ext>
              </c:extLst>
            </c:dLbl>
            <c:dLbl>
              <c:idx val="8"/>
              <c:layout>
                <c:manualLayout>
                  <c:x val="0"/>
                  <c:y val="-1.994017946161515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F47-4817-95CB-2EB4F06C1CE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24</c:v>
                </c:pt>
                <c:pt idx="1">
                  <c:v>50</c:v>
                </c:pt>
                <c:pt idx="2">
                  <c:v>16</c:v>
                </c:pt>
                <c:pt idx="3">
                  <c:v>20</c:v>
                </c:pt>
                <c:pt idx="4">
                  <c:v>71</c:v>
                </c:pt>
                <c:pt idx="5">
                  <c:v>23</c:v>
                </c:pt>
                <c:pt idx="6">
                  <c:v>24</c:v>
                </c:pt>
                <c:pt idx="7">
                  <c:v>27</c:v>
                </c:pt>
                <c:pt idx="8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F47-4817-95CB-2EB4F06C1CED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F47-4817-95CB-2EB4F06C1CED}"/>
                </c:ext>
              </c:extLst>
            </c:dLbl>
            <c:dLbl>
              <c:idx val="1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F47-4817-95CB-2EB4F06C1CED}"/>
                </c:ext>
              </c:extLst>
            </c:dLbl>
            <c:dLbl>
              <c:idx val="2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F47-4817-95CB-2EB4F06C1CED}"/>
                </c:ext>
              </c:extLst>
            </c:dLbl>
            <c:dLbl>
              <c:idx val="3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CF47-4817-95CB-2EB4F06C1CED}"/>
                </c:ext>
              </c:extLst>
            </c:dLbl>
            <c:dLbl>
              <c:idx val="4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CF47-4817-95CB-2EB4F06C1CED}"/>
                </c:ext>
              </c:extLst>
            </c:dLbl>
            <c:dLbl>
              <c:idx val="5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CF47-4817-95CB-2EB4F06C1CED}"/>
                </c:ext>
              </c:extLst>
            </c:dLbl>
            <c:dLbl>
              <c:idx val="6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CF47-4817-95CB-2EB4F06C1CED}"/>
                </c:ext>
              </c:extLst>
            </c:dLbl>
            <c:dLbl>
              <c:idx val="7"/>
              <c:layout>
                <c:manualLayout>
                  <c:x val="0"/>
                  <c:y val="-1.994017946161515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CF47-4817-95CB-2EB4F06C1CED}"/>
                </c:ext>
              </c:extLst>
            </c:dLbl>
            <c:dLbl>
              <c:idx val="8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CF47-4817-95CB-2EB4F06C1CE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22.65</c:v>
                </c:pt>
                <c:pt idx="1">
                  <c:v>34.39</c:v>
                </c:pt>
                <c:pt idx="2">
                  <c:v>49.819999999999993</c:v>
                </c:pt>
                <c:pt idx="3">
                  <c:v>32.08</c:v>
                </c:pt>
                <c:pt idx="4">
                  <c:v>27.22</c:v>
                </c:pt>
                <c:pt idx="5">
                  <c:v>9.0399999999999991</c:v>
                </c:pt>
                <c:pt idx="6">
                  <c:v>13.509999999999998</c:v>
                </c:pt>
                <c:pt idx="7">
                  <c:v>10.700000000000003</c:v>
                </c:pt>
                <c:pt idx="8">
                  <c:v>40.00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CF47-4817-95CB-2EB4F06C1CED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CF47-4817-95CB-2EB4F06C1CED}"/>
                </c:ext>
              </c:extLst>
            </c:dLbl>
            <c:dLbl>
              <c:idx val="1"/>
              <c:layout>
                <c:manualLayout>
                  <c:x val="0"/>
                  <c:y val="-1.994017946161515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CF47-4817-95CB-2EB4F06C1CED}"/>
                </c:ext>
              </c:extLst>
            </c:dLbl>
            <c:dLbl>
              <c:idx val="3"/>
              <c:layout>
                <c:manualLayout>
                  <c:x val="0"/>
                  <c:y val="-1.994017946161515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CF47-4817-95CB-2EB4F06C1CED}"/>
                </c:ext>
              </c:extLst>
            </c:dLbl>
            <c:dLbl>
              <c:idx val="4"/>
              <c:layout>
                <c:manualLayout>
                  <c:x val="0"/>
                  <c:y val="-1.994017946161515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CF47-4817-95CB-2EB4F06C1CED}"/>
                </c:ext>
              </c:extLst>
            </c:dLbl>
            <c:dLbl>
              <c:idx val="5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CF47-4817-95CB-2EB4F06C1CED}"/>
                </c:ext>
              </c:extLst>
            </c:dLbl>
            <c:dLbl>
              <c:idx val="6"/>
              <c:layout>
                <c:manualLayout>
                  <c:x val="0"/>
                  <c:y val="-1.994017946161515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CF47-4817-95CB-2EB4F06C1CED}"/>
                </c:ext>
              </c:extLst>
            </c:dLbl>
            <c:dLbl>
              <c:idx val="7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CF47-4817-95CB-2EB4F06C1CED}"/>
                </c:ext>
              </c:extLst>
            </c:dLbl>
            <c:dLbl>
              <c:idx val="8"/>
              <c:layout>
                <c:manualLayout>
                  <c:x val="0"/>
                  <c:y val="-9.9700897308075765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CF47-4817-95CB-2EB4F06C1CE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I$3</c:f>
              <c:numCache>
                <c:formatCode>General</c:formatCode>
                <c:ptCount val="9"/>
                <c:pt idx="0">
                  <c:v>9.89</c:v>
                </c:pt>
                <c:pt idx="1">
                  <c:v>5.3799999999999955</c:v>
                </c:pt>
                <c:pt idx="2">
                  <c:v>3.2800000000000011</c:v>
                </c:pt>
                <c:pt idx="3">
                  <c:v>4.3800000000000026</c:v>
                </c:pt>
                <c:pt idx="4">
                  <c:v>7.3900000000000006</c:v>
                </c:pt>
                <c:pt idx="5">
                  <c:v>5.1600000000000037</c:v>
                </c:pt>
                <c:pt idx="6">
                  <c:v>12.36</c:v>
                </c:pt>
                <c:pt idx="7">
                  <c:v>17.36</c:v>
                </c:pt>
                <c:pt idx="8">
                  <c:v>4.59000000000000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CF47-4817-95CB-2EB4F06C1C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38220656"/>
        <c:axId val="1"/>
      </c:barChart>
      <c:catAx>
        <c:axId val="6382206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5.6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382206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790314270994334E-2"/>
          <c:y val="7.0333633904418394E-2"/>
          <c:w val="0.94641937145801136"/>
          <c:h val="0.859332732191163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0171325518485117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746-4852-B5BB-031FB10A760C}"/>
                </c:ext>
              </c:extLst>
            </c:dLbl>
            <c:dLbl>
              <c:idx val="1"/>
              <c:layout>
                <c:manualLayout>
                  <c:x val="0"/>
                  <c:y val="-9.0171325518485117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746-4852-B5BB-031FB10A760C}"/>
                </c:ext>
              </c:extLst>
            </c:dLbl>
            <c:dLbl>
              <c:idx val="2"/>
              <c:layout>
                <c:manualLayout>
                  <c:x val="0"/>
                  <c:y val="-9.0171325518485117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746-4852-B5BB-031FB10A760C}"/>
                </c:ext>
              </c:extLst>
            </c:dLbl>
            <c:dLbl>
              <c:idx val="3"/>
              <c:layout>
                <c:manualLayout>
                  <c:x val="0"/>
                  <c:y val="-9.0171325518485117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746-4852-B5BB-031FB10A760C}"/>
                </c:ext>
              </c:extLst>
            </c:dLbl>
            <c:dLbl>
              <c:idx val="4"/>
              <c:layout>
                <c:manualLayout>
                  <c:x val="0"/>
                  <c:y val="-1.803426510369702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746-4852-B5BB-031FB10A760C}"/>
                </c:ext>
              </c:extLst>
            </c:dLbl>
            <c:dLbl>
              <c:idx val="5"/>
              <c:layout>
                <c:manualLayout>
                  <c:x val="0"/>
                  <c:y val="-1.803426510369702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746-4852-B5BB-031FB10A760C}"/>
                </c:ext>
              </c:extLst>
            </c:dLbl>
            <c:dLbl>
              <c:idx val="6"/>
              <c:layout>
                <c:manualLayout>
                  <c:x val="0"/>
                  <c:y val="-9.0171325518485117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746-4852-B5BB-031FB10A760C}"/>
                </c:ext>
              </c:extLst>
            </c:dLbl>
            <c:dLbl>
              <c:idx val="7"/>
              <c:layout>
                <c:manualLayout>
                  <c:x val="0"/>
                  <c:y val="-9.0171325518485117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746-4852-B5BB-031FB10A76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27993</c:v>
                </c:pt>
                <c:pt idx="1">
                  <c:v>28250</c:v>
                </c:pt>
                <c:pt idx="2">
                  <c:v>27908</c:v>
                </c:pt>
                <c:pt idx="3">
                  <c:v>28839</c:v>
                </c:pt>
                <c:pt idx="4">
                  <c:v>30256</c:v>
                </c:pt>
                <c:pt idx="5">
                  <c:v>30256</c:v>
                </c:pt>
                <c:pt idx="6">
                  <c:v>34536</c:v>
                </c:pt>
                <c:pt idx="7">
                  <c:v>380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746-4852-B5BB-031FB10A760C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5"/>
              <c:layout>
                <c:manualLayout>
                  <c:x val="0"/>
                  <c:y val="-9.0171325518485117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746-4852-B5BB-031FB10A760C}"/>
                </c:ext>
              </c:extLst>
            </c:dLbl>
            <c:dLbl>
              <c:idx val="6"/>
              <c:layout>
                <c:manualLayout>
                  <c:x val="0"/>
                  <c:y val="-9.0171325518485117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746-4852-B5BB-031FB10A760C}"/>
                </c:ext>
              </c:extLst>
            </c:dLbl>
            <c:dLbl>
              <c:idx val="7"/>
              <c:layout>
                <c:manualLayout>
                  <c:x val="0"/>
                  <c:y val="-1.803426510369702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5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746-4852-B5BB-031FB10A76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5">
                  <c:v>4180</c:v>
                </c:pt>
                <c:pt idx="6">
                  <c:v>3444</c:v>
                </c:pt>
                <c:pt idx="7">
                  <c:v>3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746-4852-B5BB-031FB10A76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30292080"/>
        <c:axId val="1"/>
      </c:barChart>
      <c:catAx>
        <c:axId val="630292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15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30292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2290180570367"/>
          <c:y val="0.13933095226253256"/>
          <c:w val="0.26398538413971684"/>
          <c:h val="0.5678329612070066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holdin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197-41B2-A9FD-5633D8F7E3C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E197-41B2-A9FD-5633D8F7E3C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E197-41B2-A9FD-5633D8F7E3C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E197-41B2-A9FD-5633D8F7E3C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197-41B2-A9FD-5633D8F7E3C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E197-41B2-A9FD-5633D8F7E3C7}"/>
              </c:ext>
            </c:extLst>
          </c:dPt>
          <c:dLbls>
            <c:dLbl>
              <c:idx val="0"/>
              <c:layout>
                <c:manualLayout>
                  <c:x val="0.12374581939799331"/>
                  <c:y val="-6.2698267583464064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197-41B2-A9FD-5633D8F7E3C7}"/>
                </c:ext>
              </c:extLst>
            </c:dLbl>
            <c:dLbl>
              <c:idx val="1"/>
              <c:layout>
                <c:manualLayout>
                  <c:x val="0.11705685618729098"/>
                  <c:y val="5.47191201854848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197-41B2-A9FD-5633D8F7E3C7}"/>
                </c:ext>
              </c:extLst>
            </c:dLbl>
            <c:dLbl>
              <c:idx val="2"/>
              <c:layout>
                <c:manualLayout>
                  <c:x val="-0.19063545150501673"/>
                  <c:y val="-1.36797800463712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197-41B2-A9FD-5633D8F7E3C7}"/>
                </c:ext>
              </c:extLst>
            </c:dLbl>
            <c:dLbl>
              <c:idx val="3"/>
              <c:layout>
                <c:manualLayout>
                  <c:x val="-0.1672240802675585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197-41B2-A9FD-5633D8F7E3C7}"/>
                </c:ext>
              </c:extLst>
            </c:dLbl>
            <c:dLbl>
              <c:idx val="4"/>
              <c:layout>
                <c:manualLayout>
                  <c:x val="-0.1939799331103679"/>
                  <c:y val="-4.10393401391136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197-41B2-A9FD-5633D8F7E3C7}"/>
                </c:ext>
              </c:extLst>
            </c:dLbl>
            <c:dLbl>
              <c:idx val="5"/>
              <c:layout>
                <c:manualLayout>
                  <c:x val="1.0033444816053512E-2"/>
                  <c:y val="-9.5758460324598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197-41B2-A9FD-5633D8F7E3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Promoters</c:v>
                </c:pt>
                <c:pt idx="1">
                  <c:v>ICICI Ventures</c:v>
                </c:pt>
                <c:pt idx="2">
                  <c:v>DII</c:v>
                </c:pt>
                <c:pt idx="3">
                  <c:v>FII</c:v>
                </c:pt>
                <c:pt idx="4">
                  <c:v>Retail Pre IPO</c:v>
                </c:pt>
                <c:pt idx="5">
                  <c:v>Retail &amp; Others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 formatCode="0.00%">
                  <c:v>0.38800000000000001</c:v>
                </c:pt>
                <c:pt idx="1">
                  <c:v>0.01</c:v>
                </c:pt>
                <c:pt idx="2" formatCode="0.00%">
                  <c:v>0.316</c:v>
                </c:pt>
                <c:pt idx="3" formatCode="0.00%">
                  <c:v>0.17699999999999999</c:v>
                </c:pt>
                <c:pt idx="4" formatCode="0.00%">
                  <c:v>7.1999999999999995E-2</c:v>
                </c:pt>
                <c:pt idx="5" formatCode="0.00%">
                  <c:v>3.7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97-41B2-A9FD-5633D8F7E3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FY16</c:v>
                </c:pt>
                <c:pt idx="1">
                  <c:v>FY17</c:v>
                </c:pt>
                <c:pt idx="2">
                  <c:v>FY18</c:v>
                </c:pt>
                <c:pt idx="3">
                  <c:v>FY19</c:v>
                </c:pt>
                <c:pt idx="4">
                  <c:v>FY20</c:v>
                </c:pt>
                <c:pt idx="5">
                  <c:v>FY21</c:v>
                </c:pt>
                <c:pt idx="6">
                  <c:v>FY22</c:v>
                </c:pt>
                <c:pt idx="7">
                  <c:v>FY23</c:v>
                </c:pt>
                <c:pt idx="8">
                  <c:v>FY24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12</c:v>
                </c:pt>
                <c:pt idx="1">
                  <c:v>567</c:v>
                </c:pt>
                <c:pt idx="2">
                  <c:v>664</c:v>
                </c:pt>
                <c:pt idx="3">
                  <c:v>918</c:v>
                </c:pt>
                <c:pt idx="4">
                  <c:v>1123</c:v>
                </c:pt>
                <c:pt idx="5">
                  <c:v>1330</c:v>
                </c:pt>
                <c:pt idx="6">
                  <c:v>1651</c:v>
                </c:pt>
                <c:pt idx="7">
                  <c:v>2198</c:v>
                </c:pt>
                <c:pt idx="8">
                  <c:v>2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84-449F-8F83-08C5312507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80808272"/>
        <c:axId val="680804912"/>
      </c:barChart>
      <c:lineChart>
        <c:grouping val="stack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OPM%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strRef>
              <c:f>Sheet1!$A$2:$A$10</c:f>
              <c:strCache>
                <c:ptCount val="9"/>
                <c:pt idx="0">
                  <c:v>FY16</c:v>
                </c:pt>
                <c:pt idx="1">
                  <c:v>FY17</c:v>
                </c:pt>
                <c:pt idx="2">
                  <c:v>FY18</c:v>
                </c:pt>
                <c:pt idx="3">
                  <c:v>FY19</c:v>
                </c:pt>
                <c:pt idx="4">
                  <c:v>FY20</c:v>
                </c:pt>
                <c:pt idx="5">
                  <c:v>FY21</c:v>
                </c:pt>
                <c:pt idx="6">
                  <c:v>FY22</c:v>
                </c:pt>
                <c:pt idx="7">
                  <c:v>FY23</c:v>
                </c:pt>
                <c:pt idx="8">
                  <c:v>FY24</c:v>
                </c:pt>
              </c:strCache>
            </c:strRef>
          </c:cat>
          <c:val>
            <c:numRef>
              <c:f>Sheet1!$C$2:$C$10</c:f>
              <c:numCache>
                <c:formatCode>0</c:formatCode>
                <c:ptCount val="9"/>
                <c:pt idx="0">
                  <c:v>21</c:v>
                </c:pt>
                <c:pt idx="1">
                  <c:v>21</c:v>
                </c:pt>
                <c:pt idx="2">
                  <c:v>11</c:v>
                </c:pt>
                <c:pt idx="3">
                  <c:v>9</c:v>
                </c:pt>
                <c:pt idx="4">
                  <c:v>22</c:v>
                </c:pt>
                <c:pt idx="5">
                  <c:v>28</c:v>
                </c:pt>
                <c:pt idx="6">
                  <c:v>32</c:v>
                </c:pt>
                <c:pt idx="7">
                  <c:v>28</c:v>
                </c:pt>
                <c:pt idx="8">
                  <c:v>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584-449F-8F83-08C5312507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BT%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0</c:f>
              <c:strCache>
                <c:ptCount val="9"/>
                <c:pt idx="0">
                  <c:v>FY16</c:v>
                </c:pt>
                <c:pt idx="1">
                  <c:v>FY17</c:v>
                </c:pt>
                <c:pt idx="2">
                  <c:v>FY18</c:v>
                </c:pt>
                <c:pt idx="3">
                  <c:v>FY19</c:v>
                </c:pt>
                <c:pt idx="4">
                  <c:v>FY20</c:v>
                </c:pt>
                <c:pt idx="5">
                  <c:v>FY21</c:v>
                </c:pt>
                <c:pt idx="6">
                  <c:v>FY22</c:v>
                </c:pt>
                <c:pt idx="7">
                  <c:v>FY23</c:v>
                </c:pt>
                <c:pt idx="8">
                  <c:v>FY24</c:v>
                </c:pt>
              </c:strCache>
            </c:strRef>
          </c:cat>
          <c:val>
            <c:numRef>
              <c:f>Sheet1!$D$2:$D$10</c:f>
              <c:numCache>
                <c:formatCode>0</c:formatCode>
                <c:ptCount val="9"/>
                <c:pt idx="0">
                  <c:v>8.0078125</c:v>
                </c:pt>
                <c:pt idx="1">
                  <c:v>9.3474426807760143</c:v>
                </c:pt>
                <c:pt idx="2">
                  <c:v>-3.0120481927710845</c:v>
                </c:pt>
                <c:pt idx="3">
                  <c:v>-1.6339869281045754</c:v>
                </c:pt>
                <c:pt idx="4">
                  <c:v>12.555654496883347</c:v>
                </c:pt>
                <c:pt idx="5">
                  <c:v>20.977443609022554</c:v>
                </c:pt>
                <c:pt idx="6">
                  <c:v>27.680193821926107</c:v>
                </c:pt>
                <c:pt idx="7">
                  <c:v>22.065514103730663</c:v>
                </c:pt>
                <c:pt idx="8">
                  <c:v>18.4147317854283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584-449F-8F83-08C5312507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0796272"/>
        <c:axId val="680799632"/>
      </c:lineChart>
      <c:catAx>
        <c:axId val="680808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0804912"/>
        <c:crosses val="autoZero"/>
        <c:auto val="1"/>
        <c:lblAlgn val="ctr"/>
        <c:lblOffset val="100"/>
        <c:noMultiLvlLbl val="0"/>
      </c:catAx>
      <c:valAx>
        <c:axId val="68080491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0808272"/>
        <c:crosses val="autoZero"/>
        <c:crossBetween val="between"/>
      </c:valAx>
      <c:valAx>
        <c:axId val="6807996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0796272"/>
        <c:crosses val="max"/>
        <c:crossBetween val="between"/>
      </c:valAx>
      <c:catAx>
        <c:axId val="6807962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807996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899287894201424E-2"/>
          <c:y val="0.19424460431654678"/>
          <c:w val="0.89420142421159721"/>
          <c:h val="0.674820143884892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050359712230215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1B0-4D43-B7CA-D1EC2B0A9997}"/>
                </c:ext>
              </c:extLst>
            </c:dLbl>
            <c:dLbl>
              <c:idx val="1"/>
              <c:layout>
                <c:manualLayout>
                  <c:x val="0"/>
                  <c:y val="-0.3769784172661870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1B0-4D43-B7CA-D1EC2B0A9997}"/>
                </c:ext>
              </c:extLst>
            </c:dLbl>
            <c:dLbl>
              <c:idx val="2"/>
              <c:layout>
                <c:manualLayout>
                  <c:x val="0"/>
                  <c:y val="-0.4014388489208632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1B0-4D43-B7CA-D1EC2B0A99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37</c:v>
                </c:pt>
                <c:pt idx="1">
                  <c:v>177</c:v>
                </c:pt>
                <c:pt idx="2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1B0-4D43-B7CA-D1EC2B0A99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89118528"/>
        <c:axId val="1"/>
      </c:barChart>
      <c:catAx>
        <c:axId val="11891185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891185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899287894201424E-2"/>
          <c:y val="0.15022761760242792"/>
          <c:w val="0.89420142421159721"/>
          <c:h val="0.711684370257966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0.3869499241274658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F30-44CA-AACA-71DEE0CE529C}"/>
                </c:ext>
              </c:extLst>
            </c:dLbl>
            <c:dLbl>
              <c:idx val="2"/>
              <c:layout>
                <c:manualLayout>
                  <c:x val="0"/>
                  <c:y val="-0.39605462822458271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F30-44CA-AACA-71DEE0CE52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58.5</c:v>
                </c:pt>
                <c:pt idx="1">
                  <c:v>52.6</c:v>
                </c:pt>
                <c:pt idx="2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30-44CA-AACA-71DEE0CE52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7264383"/>
        <c:axId val="1"/>
      </c:barChart>
      <c:catAx>
        <c:axId val="10872643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8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72643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686567164179099E-2"/>
          <c:y val="0.19424460431654678"/>
          <c:w val="0.87462686567164183"/>
          <c:h val="0.674820143884892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762589928057553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6F-4DE2-880A-CDBED1A99878}"/>
                </c:ext>
              </c:extLst>
            </c:dLbl>
            <c:dLbl>
              <c:idx val="1"/>
              <c:layout>
                <c:manualLayout>
                  <c:x val="0"/>
                  <c:y val="-0.3697841726618705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6F-4DE2-880A-CDBED1A99878}"/>
                </c:ext>
              </c:extLst>
            </c:dLbl>
            <c:dLbl>
              <c:idx val="2"/>
              <c:layout>
                <c:manualLayout>
                  <c:x val="0"/>
                  <c:y val="-0.4014388489208632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96F-4DE2-880A-CDBED1A9987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014</c:v>
                </c:pt>
                <c:pt idx="1">
                  <c:v>1462</c:v>
                </c:pt>
                <c:pt idx="2">
                  <c:v>16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96F-4DE2-880A-CDBED1A998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81172784"/>
        <c:axId val="1"/>
      </c:barChart>
      <c:catAx>
        <c:axId val="981172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811727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899287894201424E-2"/>
          <c:y val="0.19424460431654678"/>
          <c:w val="0.89420142421159721"/>
          <c:h val="0.674820143884892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14388489208632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4DC-4D7F-B64F-EC3F957F69A9}"/>
                </c:ext>
              </c:extLst>
            </c:dLbl>
            <c:dLbl>
              <c:idx val="1"/>
              <c:layout>
                <c:manualLayout>
                  <c:x val="0"/>
                  <c:y val="-0.3913669064748201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4DC-4D7F-B64F-EC3F957F69A9}"/>
                </c:ext>
              </c:extLst>
            </c:dLbl>
            <c:dLbl>
              <c:idx val="2"/>
              <c:layout>
                <c:manualLayout>
                  <c:x val="0"/>
                  <c:y val="-0.3812949640287769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4DC-4D7F-B64F-EC3F957F69A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52.900000000000006</c:v>
                </c:pt>
                <c:pt idx="1">
                  <c:v>51.4</c:v>
                </c:pt>
                <c:pt idx="2">
                  <c:v>49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4DC-4D7F-B64F-EC3F957F69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81193904"/>
        <c:axId val="1"/>
      </c:barChart>
      <c:catAx>
        <c:axId val="9811939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2.9000000000000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81193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aa3fb9f80e_0_38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aa3fb9f80e_0_38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ge9510081f8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4" name="Google Shape;194;ge9510081f8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206684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ge9510081f8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4" name="Google Shape;194;ge9510081f8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15164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ge9510081f8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4" name="Google Shape;194;ge9510081f8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50814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ge9510081f8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4" name="Google Shape;194;ge9510081f8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546951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ge9510081f8_0_2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4" name="Google Shape;194;ge9510081f8_0_2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76853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 flipH="1">
            <a:off x="870497" y="1461225"/>
            <a:ext cx="4082700" cy="187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0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 flipH="1">
            <a:off x="870784" y="3444222"/>
            <a:ext cx="3887700" cy="340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6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3" name="Google Shape;43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 Slide">
  <p:cSld name="Default Slid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_ONLY_1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4"/>
          <p:cNvSpPr txBox="1">
            <a:spLocks noGrp="1"/>
          </p:cNvSpPr>
          <p:nvPr>
            <p:ph type="title"/>
          </p:nvPr>
        </p:nvSpPr>
        <p:spPr>
          <a:xfrm>
            <a:off x="457200" y="411475"/>
            <a:ext cx="8229600" cy="330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_ONLY_2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5"/>
          <p:cNvSpPr txBox="1">
            <a:spLocks noGrp="1"/>
          </p:cNvSpPr>
          <p:nvPr>
            <p:ph type="title"/>
          </p:nvPr>
        </p:nvSpPr>
        <p:spPr>
          <a:xfrm>
            <a:off x="1282274" y="296977"/>
            <a:ext cx="6579300" cy="4812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3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_ONLY_3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6"/>
          <p:cNvSpPr txBox="1">
            <a:spLocks noGrp="1"/>
          </p:cNvSpPr>
          <p:nvPr>
            <p:ph type="title"/>
          </p:nvPr>
        </p:nvSpPr>
        <p:spPr>
          <a:xfrm>
            <a:off x="457200" y="411475"/>
            <a:ext cx="8229600" cy="481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4">
  <p:cSld name="TITLE_ONLY_4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7"/>
          <p:cNvSpPr txBox="1">
            <a:spLocks noGrp="1"/>
          </p:cNvSpPr>
          <p:nvPr>
            <p:ph type="title"/>
          </p:nvPr>
        </p:nvSpPr>
        <p:spPr>
          <a:xfrm>
            <a:off x="1282274" y="296977"/>
            <a:ext cx="6579300" cy="4812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3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2">
  <p:cSld name="Blank 2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8"/>
          <p:cNvSpPr/>
          <p:nvPr/>
        </p:nvSpPr>
        <p:spPr>
          <a:xfrm>
            <a:off x="8869680" y="4869180"/>
            <a:ext cx="274200" cy="274200"/>
          </a:xfrm>
          <a:prstGeom prst="rect">
            <a:avLst/>
          </a:prstGeom>
          <a:solidFill>
            <a:srgbClr val="999EB9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8" name="Google Shape;58;p18"/>
          <p:cNvSpPr txBox="1">
            <a:spLocks noGrp="1"/>
          </p:cNvSpPr>
          <p:nvPr>
            <p:ph type="sldNum" idx="12"/>
          </p:nvPr>
        </p:nvSpPr>
        <p:spPr>
          <a:xfrm>
            <a:off x="8869680" y="4869180"/>
            <a:ext cx="2742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ctr" rtl="0">
              <a:spcBef>
                <a:spcPts val="0"/>
              </a:spcBef>
              <a:buNone/>
              <a:defRPr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lvl="1" indent="0" algn="ctr" rtl="0">
              <a:spcBef>
                <a:spcPts val="0"/>
              </a:spcBef>
              <a:buNone/>
              <a:defRPr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lvl="2" indent="0" algn="ctr" rtl="0">
              <a:spcBef>
                <a:spcPts val="0"/>
              </a:spcBef>
              <a:buNone/>
              <a:defRPr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lvl="3" indent="0" algn="ctr" rtl="0">
              <a:spcBef>
                <a:spcPts val="0"/>
              </a:spcBef>
              <a:buNone/>
              <a:defRPr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lvl="4" indent="0" algn="ctr" rtl="0">
              <a:spcBef>
                <a:spcPts val="0"/>
              </a:spcBef>
              <a:buNone/>
              <a:defRPr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lvl="5" indent="0" algn="ctr" rtl="0">
              <a:spcBef>
                <a:spcPts val="0"/>
              </a:spcBef>
              <a:buNone/>
              <a:defRPr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lvl="6" indent="0" algn="ctr" rtl="0">
              <a:spcBef>
                <a:spcPts val="0"/>
              </a:spcBef>
              <a:buNone/>
              <a:defRPr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lvl="7" indent="0" algn="ctr" rtl="0">
              <a:spcBef>
                <a:spcPts val="0"/>
              </a:spcBef>
              <a:buNone/>
              <a:defRPr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lvl="8" indent="0" algn="ctr" rtl="0">
              <a:spcBef>
                <a:spcPts val="0"/>
              </a:spcBef>
              <a:buNone/>
              <a:defRPr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2 1">
  <p:cSld name="Blank 2_1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9"/>
          <p:cNvSpPr/>
          <p:nvPr/>
        </p:nvSpPr>
        <p:spPr>
          <a:xfrm>
            <a:off x="8869680" y="4869180"/>
            <a:ext cx="274200" cy="274200"/>
          </a:xfrm>
          <a:prstGeom prst="rect">
            <a:avLst/>
          </a:prstGeom>
          <a:solidFill>
            <a:srgbClr val="999EB9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61" name="Google Shape;61;p19"/>
          <p:cNvSpPr txBox="1">
            <a:spLocks noGrp="1"/>
          </p:cNvSpPr>
          <p:nvPr>
            <p:ph type="sldNum" idx="12"/>
          </p:nvPr>
        </p:nvSpPr>
        <p:spPr>
          <a:xfrm>
            <a:off x="8869680" y="4869180"/>
            <a:ext cx="2742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ct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lvl="1" indent="0" algn="ct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lvl="2" indent="0" algn="ct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lvl="3" indent="0" algn="ct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lvl="4" indent="0" algn="ct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lvl="5" indent="0" algn="ct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lvl="6" indent="0" algn="ct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lvl="7" indent="0" algn="ct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lvl="8" indent="0" algn="ct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7" name="Google Shape;17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1" name="Google Shape;21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448975" y="410350"/>
            <a:ext cx="8237700" cy="28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2800"/>
              <a:buNone/>
              <a:defRPr sz="2700"/>
            </a:lvl1pPr>
            <a:lvl2pPr lvl="1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8" name="Google Shape;28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1" name="Google Shape;31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5" name="Google Shape;35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6" name="Google Shape;36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0" name="Google Shape;40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3D34059-A569-633D-199B-3A6EA5AD1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947263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1" imgH="473" progId="TCLayout.ActiveDocument.1">
                  <p:embed/>
                </p:oleObj>
              </mc:Choice>
              <mc:Fallback>
                <p:oleObj name="think-cell Slide" r:id="rId21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Roboto"/>
              <a:buChar char="●"/>
              <a:defRPr sz="1800">
                <a:latin typeface="Roboto"/>
                <a:ea typeface="Roboto"/>
                <a:cs typeface="Roboto"/>
                <a:sym typeface="Roboto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slideLayout" Target="../slideLayouts/slideLayout5.xml"/><Relationship Id="rId55" Type="http://schemas.openxmlformats.org/officeDocument/2006/relationships/chart" Target="../charts/chart1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image" Target="../media/image1.emf"/><Relationship Id="rId58" Type="http://schemas.openxmlformats.org/officeDocument/2006/relationships/image" Target="../media/image4.png"/><Relationship Id="rId5" Type="http://schemas.openxmlformats.org/officeDocument/2006/relationships/tags" Target="../tags/tag8.xml"/><Relationship Id="rId61" Type="http://schemas.openxmlformats.org/officeDocument/2006/relationships/image" Target="../media/image7.png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chart" Target="../charts/chart2.xml"/><Relationship Id="rId8" Type="http://schemas.openxmlformats.org/officeDocument/2006/relationships/tags" Target="../tags/tag11.xml"/><Relationship Id="rId51" Type="http://schemas.openxmlformats.org/officeDocument/2006/relationships/notesSlide" Target="../notesSlides/notesSlide2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image" Target="../media/image5.png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image" Target="../media/image3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image" Target="../media/image2.png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oleObject" Target="../embeddings/oleObject3.bin"/><Relationship Id="rId60" Type="http://schemas.openxmlformats.org/officeDocument/2006/relationships/image" Target="../media/image6.png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26" Type="http://schemas.openxmlformats.org/officeDocument/2006/relationships/tags" Target="../tags/tag78.xml"/><Relationship Id="rId39" Type="http://schemas.openxmlformats.org/officeDocument/2006/relationships/image" Target="../media/image2.png"/><Relationship Id="rId21" Type="http://schemas.openxmlformats.org/officeDocument/2006/relationships/tags" Target="../tags/tag73.xml"/><Relationship Id="rId34" Type="http://schemas.openxmlformats.org/officeDocument/2006/relationships/tags" Target="../tags/tag86.xml"/><Relationship Id="rId42" Type="http://schemas.openxmlformats.org/officeDocument/2006/relationships/chart" Target="../charts/chart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9" Type="http://schemas.openxmlformats.org/officeDocument/2006/relationships/tags" Target="../tags/tag81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tags" Target="../tags/tag76.xml"/><Relationship Id="rId32" Type="http://schemas.openxmlformats.org/officeDocument/2006/relationships/tags" Target="../tags/tag84.xml"/><Relationship Id="rId37" Type="http://schemas.openxmlformats.org/officeDocument/2006/relationships/oleObject" Target="../embeddings/oleObject4.bin"/><Relationship Id="rId40" Type="http://schemas.openxmlformats.org/officeDocument/2006/relationships/chart" Target="../charts/chart3.xml"/><Relationship Id="rId45" Type="http://schemas.openxmlformats.org/officeDocument/2006/relationships/chart" Target="../charts/chart8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23" Type="http://schemas.openxmlformats.org/officeDocument/2006/relationships/tags" Target="../tags/tag75.xml"/><Relationship Id="rId28" Type="http://schemas.openxmlformats.org/officeDocument/2006/relationships/tags" Target="../tags/tag80.xml"/><Relationship Id="rId36" Type="http://schemas.openxmlformats.org/officeDocument/2006/relationships/notesSlide" Target="../notesSlides/notesSlide3.xml"/><Relationship Id="rId10" Type="http://schemas.openxmlformats.org/officeDocument/2006/relationships/tags" Target="../tags/tag62.xml"/><Relationship Id="rId19" Type="http://schemas.openxmlformats.org/officeDocument/2006/relationships/tags" Target="../tags/tag71.xml"/><Relationship Id="rId31" Type="http://schemas.openxmlformats.org/officeDocument/2006/relationships/tags" Target="../tags/tag83.xml"/><Relationship Id="rId44" Type="http://schemas.openxmlformats.org/officeDocument/2006/relationships/chart" Target="../charts/chart7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tags" Target="../tags/tag74.xml"/><Relationship Id="rId27" Type="http://schemas.openxmlformats.org/officeDocument/2006/relationships/tags" Target="../tags/tag79.xml"/><Relationship Id="rId30" Type="http://schemas.openxmlformats.org/officeDocument/2006/relationships/tags" Target="../tags/tag82.xml"/><Relationship Id="rId35" Type="http://schemas.openxmlformats.org/officeDocument/2006/relationships/slideLayout" Target="../slideLayouts/slideLayout5.xml"/><Relationship Id="rId43" Type="http://schemas.openxmlformats.org/officeDocument/2006/relationships/chart" Target="../charts/chart6.xml"/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5" Type="http://schemas.openxmlformats.org/officeDocument/2006/relationships/tags" Target="../tags/tag77.xml"/><Relationship Id="rId33" Type="http://schemas.openxmlformats.org/officeDocument/2006/relationships/tags" Target="../tags/tag85.xml"/><Relationship Id="rId38" Type="http://schemas.openxmlformats.org/officeDocument/2006/relationships/image" Target="../media/image1.emf"/><Relationship Id="rId20" Type="http://schemas.openxmlformats.org/officeDocument/2006/relationships/tags" Target="../tags/tag72.xml"/><Relationship Id="rId41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7.xml"/><Relationship Id="rId6" Type="http://schemas.openxmlformats.org/officeDocument/2006/relationships/image" Target="../media/image8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2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0.xml"/><Relationship Id="rId6" Type="http://schemas.openxmlformats.org/officeDocument/2006/relationships/image" Target="../media/image15.png"/><Relationship Id="rId5" Type="http://schemas.openxmlformats.org/officeDocument/2006/relationships/hyperlink" Target="https://www.linkedin.com/in/aryan-r22/" TargetMode="Externa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9D070E4-EC0A-2FC7-BB72-8D2459DCFE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254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3" progId="TCLayout.ActiveDocument.1">
                  <p:embed/>
                </p:oleObj>
              </mc:Choice>
              <mc:Fallback>
                <p:oleObj name="think-cell Slide" r:id="rId4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22"/>
          <p:cNvSpPr txBox="1">
            <a:spLocks noGrp="1"/>
          </p:cNvSpPr>
          <p:nvPr>
            <p:ph type="ctrTitle"/>
          </p:nvPr>
        </p:nvSpPr>
        <p:spPr>
          <a:xfrm flipH="1">
            <a:off x="317167" y="1110900"/>
            <a:ext cx="5050012" cy="187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tock Analysis</a:t>
            </a:r>
            <a:br>
              <a:rPr lang="en-GB" dirty="0"/>
            </a:br>
            <a:br>
              <a:rPr lang="en-GB" sz="3600" dirty="0"/>
            </a:br>
            <a:r>
              <a:rPr lang="en-US" sz="2800" b="1" dirty="0">
                <a:solidFill>
                  <a:srgbClr val="007DB0"/>
                </a:solidFill>
                <a:latin typeface="+mn-lt"/>
              </a:rPr>
              <a:t>Krishna Institute of Medical Sciences Ltd</a:t>
            </a:r>
            <a:br>
              <a:rPr lang="en-US" sz="2800" b="1" dirty="0">
                <a:solidFill>
                  <a:srgbClr val="007DB0"/>
                </a:solidFill>
                <a:latin typeface="+mn-lt"/>
              </a:rPr>
            </a:br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KIMS)</a:t>
            </a:r>
            <a:endParaRPr lang="en-GB" sz="4000" dirty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7DE6D0-DD50-2634-3DBC-24538D6C9544}"/>
              </a:ext>
            </a:extLst>
          </p:cNvPr>
          <p:cNvSpPr/>
          <p:nvPr/>
        </p:nvSpPr>
        <p:spPr>
          <a:xfrm>
            <a:off x="0" y="3833813"/>
            <a:ext cx="9144000" cy="13096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658CD4-BBFD-FB9A-9425-AE08AAE3D078}"/>
              </a:ext>
            </a:extLst>
          </p:cNvPr>
          <p:cNvSpPr txBox="1"/>
          <p:nvPr/>
        </p:nvSpPr>
        <p:spPr>
          <a:xfrm>
            <a:off x="703810" y="4033838"/>
            <a:ext cx="20298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Recommendation:</a:t>
            </a:r>
          </a:p>
          <a:p>
            <a:r>
              <a:rPr lang="en-IN" dirty="0">
                <a:solidFill>
                  <a:schemeClr val="bg1"/>
                </a:solidFill>
              </a:rPr>
              <a:t>Target Price:</a:t>
            </a:r>
          </a:p>
          <a:p>
            <a:r>
              <a:rPr lang="en-IN" dirty="0">
                <a:solidFill>
                  <a:schemeClr val="bg1"/>
                </a:solidFill>
              </a:rPr>
              <a:t>Current Market Price:</a:t>
            </a:r>
          </a:p>
          <a:p>
            <a:r>
              <a:rPr lang="en-IN" dirty="0">
                <a:solidFill>
                  <a:schemeClr val="bg1"/>
                </a:solidFill>
              </a:rPr>
              <a:t>Upside Potential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380ED7-14CF-09BA-A555-2C03A84DD193}"/>
              </a:ext>
            </a:extLst>
          </p:cNvPr>
          <p:cNvSpPr txBox="1"/>
          <p:nvPr/>
        </p:nvSpPr>
        <p:spPr>
          <a:xfrm>
            <a:off x="2842173" y="4052890"/>
            <a:ext cx="20298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rgbClr val="92D050"/>
                </a:solidFill>
              </a:rPr>
              <a:t>BUY</a:t>
            </a:r>
          </a:p>
          <a:p>
            <a:r>
              <a:rPr lang="en-IN" dirty="0">
                <a:solidFill>
                  <a:schemeClr val="bg1"/>
                </a:solidFill>
              </a:rPr>
              <a:t>INR 658</a:t>
            </a:r>
          </a:p>
          <a:p>
            <a:r>
              <a:rPr lang="en-IN" dirty="0">
                <a:solidFill>
                  <a:schemeClr val="bg1"/>
                </a:solidFill>
              </a:rPr>
              <a:t>INR 552</a:t>
            </a:r>
          </a:p>
          <a:p>
            <a:r>
              <a:rPr lang="en-IN" dirty="0">
                <a:solidFill>
                  <a:srgbClr val="92D050"/>
                </a:solidFill>
              </a:rPr>
              <a:t>17%</a:t>
            </a:r>
          </a:p>
        </p:txBody>
      </p:sp>
      <p:pic>
        <p:nvPicPr>
          <p:cNvPr id="6" name="Picture 5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F07B1D61-E899-3E7F-EC0D-051E806049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1070" y="1110900"/>
            <a:ext cx="3882501" cy="173225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C9836B9-73EB-E5F1-DE87-0E9C2F784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37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71" imgH="473" progId="TCLayout.ActiveDocument.1">
                  <p:embed/>
                </p:oleObj>
              </mc:Choice>
              <mc:Fallback>
                <p:oleObj name="think-cell Slide" r:id="rId52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9" name="Picture 1118" descr="A graph with numbers and lines&#10;&#10;Description automatically generated with medium confidence">
            <a:extLst>
              <a:ext uri="{FF2B5EF4-FFF2-40B4-BE49-F238E27FC236}">
                <a16:creationId xmlns:a16="http://schemas.microsoft.com/office/drawing/2014/main" id="{ADE134AC-6CED-CF4A-F64F-C6A87EF78C26}"/>
              </a:ext>
            </a:extLst>
          </p:cNvPr>
          <p:cNvPicPr>
            <a:picLocks noChangeAspect="1"/>
          </p:cNvPicPr>
          <p:nvPr/>
        </p:nvPicPr>
        <p:blipFill>
          <a:blip r:embed="rId54"/>
          <a:stretch>
            <a:fillRect/>
          </a:stretch>
        </p:blipFill>
        <p:spPr>
          <a:xfrm>
            <a:off x="159433" y="3088673"/>
            <a:ext cx="2948363" cy="1769018"/>
          </a:xfrm>
          <a:prstGeom prst="rect">
            <a:avLst/>
          </a:prstGeom>
        </p:spPr>
      </p:pic>
      <p:sp>
        <p:nvSpPr>
          <p:cNvPr id="196" name="Google Shape;196;p23"/>
          <p:cNvSpPr txBox="1"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453150" y="57599"/>
            <a:ext cx="8237700" cy="28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Industry Overview</a:t>
            </a:r>
            <a:endParaRPr dirty="0"/>
          </a:p>
        </p:txBody>
      </p:sp>
      <p:graphicFrame>
        <p:nvGraphicFramePr>
          <p:cNvPr id="1028" name="Chart 1027">
            <a:extLst>
              <a:ext uri="{FF2B5EF4-FFF2-40B4-BE49-F238E27FC236}">
                <a16:creationId xmlns:a16="http://schemas.microsoft.com/office/drawing/2014/main" id="{DA824F30-1C88-E554-1364-746B4311108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390012"/>
              </p:ext>
            </p:extLst>
          </p:nvPr>
        </p:nvGraphicFramePr>
        <p:xfrm>
          <a:off x="74613" y="928688"/>
          <a:ext cx="2998787" cy="1592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383" name="Google Shape;7;p1">
            <a:extLst>
              <a:ext uri="{FF2B5EF4-FFF2-40B4-BE49-F238E27FC236}">
                <a16:creationId xmlns:a16="http://schemas.microsoft.com/office/drawing/2014/main" id="{8F1F777A-BD81-03E8-3A30-37277B5FF3B6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04788" y="2422525"/>
            <a:ext cx="2206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11CC96B-90EC-48D8-A8F3-7BA712227E7B}" type="datetime'''''''''''''''''B''''''''''''r''''a''''''''zi''''''''''''l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Brazil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5" name="Google Shape;7;p1">
            <a:extLst>
              <a:ext uri="{FF2B5EF4-FFF2-40B4-BE49-F238E27FC236}">
                <a16:creationId xmlns:a16="http://schemas.microsoft.com/office/drawing/2014/main" id="{67A66EFB-3225-B3F1-06BB-F8A9A69120F7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17524" y="2422525"/>
            <a:ext cx="22383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19C73E2-DF74-46A7-AA29-CCE037861E8D}" type="datetime'''C''''''h''i''n''''''''''''''''a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China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0" name="Google Shape;7;p1">
            <a:extLst>
              <a:ext uri="{FF2B5EF4-FFF2-40B4-BE49-F238E27FC236}">
                <a16:creationId xmlns:a16="http://schemas.microsoft.com/office/drawing/2014/main" id="{30245124-A049-77B3-3855-D2963FE98F75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17575" y="1504950"/>
            <a:ext cx="53975" cy="682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spcFirstLastPara="1" vert="horz" wrap="none" lIns="9525" tIns="0" rIns="9525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293196-C482-4759-9BD2-8330FAC5022F}" type="datetime'3'''''''''''''''''''''">
              <a:rPr lang="en-IN" altLang="en-US" sz="50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IN" sz="5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8" name="Google Shape;7;p1">
            <a:extLst>
              <a:ext uri="{FF2B5EF4-FFF2-40B4-BE49-F238E27FC236}">
                <a16:creationId xmlns:a16="http://schemas.microsoft.com/office/drawing/2014/main" id="{80D90238-871A-E241-8BCC-5F08331548B3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50900" y="2422525"/>
            <a:ext cx="188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976722-5CFD-4301-9C00-0A7B469249FC}" type="datetime'''''''''''''''''''I''''n''d''''''i''''a''''''''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India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1" name="Google Shape;7;p1">
            <a:extLst>
              <a:ext uri="{FF2B5EF4-FFF2-40B4-BE49-F238E27FC236}">
                <a16:creationId xmlns:a16="http://schemas.microsoft.com/office/drawing/2014/main" id="{3E0BA8A9-40DD-EEDB-BB88-91075D4481E4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93787" y="2422525"/>
            <a:ext cx="331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6060688-2DC1-40C0-BF0B-F545E2614053}" type="datetime'''''''Ma''''l''a''''y''s''''''''i''''''''''''a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Malaysia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4" name="Google Shape;7;p1">
            <a:extLst>
              <a:ext uri="{FF2B5EF4-FFF2-40B4-BE49-F238E27FC236}">
                <a16:creationId xmlns:a16="http://schemas.microsoft.com/office/drawing/2014/main" id="{2A66293F-EC12-8F0A-CA59-64C5DB06DD8D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441450" y="2422525"/>
            <a:ext cx="2635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EC47EC8-A2B8-4D5A-8177-30FB7632870A}" type="datetime'''''''R''''''''''''''u''''s''''si''''''''''''''''''''''''a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Russia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7" name="Google Shape;7;p1">
            <a:extLst>
              <a:ext uri="{FF2B5EF4-FFF2-40B4-BE49-F238E27FC236}">
                <a16:creationId xmlns:a16="http://schemas.microsoft.com/office/drawing/2014/main" id="{9EADDE60-171F-C756-9B59-808D3FF8D1AE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27199" y="2422525"/>
            <a:ext cx="32385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171EB4C-82C5-4E85-A21F-7F84F0AEDB05}" type="datetime'''Tha''''''''i''''''''''lan''d''''''''''''''''''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Thailand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90" name="Google Shape;7;p1">
            <a:extLst>
              <a:ext uri="{FF2B5EF4-FFF2-40B4-BE49-F238E27FC236}">
                <a16:creationId xmlns:a16="http://schemas.microsoft.com/office/drawing/2014/main" id="{CFFCCDF8-EB9A-A7BB-9D61-9729F5BE02B2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141538" y="2422525"/>
            <a:ext cx="1238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6C981E8-F6B0-4350-AE6F-EF0380C2CB28}" type="datetime'''''''''''''''''''''U''''''''''''K''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UK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95" name="Google Shape;7;p1">
            <a:extLst>
              <a:ext uri="{FF2B5EF4-FFF2-40B4-BE49-F238E27FC236}">
                <a16:creationId xmlns:a16="http://schemas.microsoft.com/office/drawing/2014/main" id="{B9260EE8-C74B-F223-B62F-038F0E0ADB8A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430463" y="2422525"/>
            <a:ext cx="174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853286B-926A-43A5-BEB6-1AE219F21503}" type="datetime'''''''''''''''''''''U''''''''''''''''''''''''''S''''''''A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USA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98" name="Google Shape;7;p1">
            <a:extLst>
              <a:ext uri="{FF2B5EF4-FFF2-40B4-BE49-F238E27FC236}">
                <a16:creationId xmlns:a16="http://schemas.microsoft.com/office/drawing/2014/main" id="{3B38C5E0-21CC-0321-75FE-2444D0C8A26B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679700" y="2422525"/>
            <a:ext cx="309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402A93-25E7-44E3-9680-F0810F70AA4C}" type="datetime'''Vi''''e''''''''''''''''t''''''n''''''''''a''''''m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Vietnam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2" name="Rectangle 691">
            <a:extLst>
              <a:ext uri="{FF2B5EF4-FFF2-40B4-BE49-F238E27FC236}">
                <a16:creationId xmlns:a16="http://schemas.microsoft.com/office/drawing/2014/main" id="{C37F589A-8A74-861A-1EE8-743BBF535D4A}"/>
              </a:ext>
            </a:extLst>
          </p:cNvPr>
          <p:cNvSpPr/>
          <p:nvPr/>
        </p:nvSpPr>
        <p:spPr>
          <a:xfrm>
            <a:off x="222250" y="741363"/>
            <a:ext cx="166688" cy="95250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726" name="Rectangle 725">
            <a:extLst>
              <a:ext uri="{FF2B5EF4-FFF2-40B4-BE49-F238E27FC236}">
                <a16:creationId xmlns:a16="http://schemas.microsoft.com/office/drawing/2014/main" id="{071ADB2F-078F-7119-5A21-F683F99A22AD}"/>
              </a:ext>
            </a:extLst>
          </p:cNvPr>
          <p:cNvSpPr/>
          <p:nvPr/>
        </p:nvSpPr>
        <p:spPr>
          <a:xfrm>
            <a:off x="222250" y="881063"/>
            <a:ext cx="166688" cy="9525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/>
          </a:p>
        </p:txBody>
      </p:sp>
      <p:sp>
        <p:nvSpPr>
          <p:cNvPr id="727" name="Rectangle 726">
            <a:extLst>
              <a:ext uri="{FF2B5EF4-FFF2-40B4-BE49-F238E27FC236}">
                <a16:creationId xmlns:a16="http://schemas.microsoft.com/office/drawing/2014/main" id="{27304C93-3E7C-D4E8-3529-65A2CE693E3A}"/>
              </a:ext>
            </a:extLst>
          </p:cNvPr>
          <p:cNvSpPr/>
          <p:nvPr/>
        </p:nvSpPr>
        <p:spPr>
          <a:xfrm>
            <a:off x="531813" y="744538"/>
            <a:ext cx="166688" cy="95250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728" name="Rectangle 727">
            <a:extLst>
              <a:ext uri="{FF2B5EF4-FFF2-40B4-BE49-F238E27FC236}">
                <a16:creationId xmlns:a16="http://schemas.microsoft.com/office/drawing/2014/main" id="{5406384A-AD1D-7F8B-7111-805E384235DF}"/>
              </a:ext>
            </a:extLst>
          </p:cNvPr>
          <p:cNvSpPr/>
          <p:nvPr/>
        </p:nvSpPr>
        <p:spPr>
          <a:xfrm>
            <a:off x="531813" y="884238"/>
            <a:ext cx="166688" cy="9525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/>
          </a:p>
        </p:txBody>
      </p:sp>
      <p:sp>
        <p:nvSpPr>
          <p:cNvPr id="729" name="Rectangle 728">
            <a:extLst>
              <a:ext uri="{FF2B5EF4-FFF2-40B4-BE49-F238E27FC236}">
                <a16:creationId xmlns:a16="http://schemas.microsoft.com/office/drawing/2014/main" id="{73357159-B230-65AC-0D1A-D3502ADFCF5C}"/>
              </a:ext>
            </a:extLst>
          </p:cNvPr>
          <p:cNvSpPr/>
          <p:nvPr/>
        </p:nvSpPr>
        <p:spPr>
          <a:xfrm>
            <a:off x="865188" y="741363"/>
            <a:ext cx="166688" cy="95250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730" name="Rectangle 729">
            <a:extLst>
              <a:ext uri="{FF2B5EF4-FFF2-40B4-BE49-F238E27FC236}">
                <a16:creationId xmlns:a16="http://schemas.microsoft.com/office/drawing/2014/main" id="{F0E194D4-B960-1EFD-3BB8-D0E48D86A510}"/>
              </a:ext>
            </a:extLst>
          </p:cNvPr>
          <p:cNvSpPr/>
          <p:nvPr/>
        </p:nvSpPr>
        <p:spPr>
          <a:xfrm>
            <a:off x="865188" y="881063"/>
            <a:ext cx="166688" cy="9525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/>
          </a:p>
        </p:txBody>
      </p:sp>
      <p:sp>
        <p:nvSpPr>
          <p:cNvPr id="731" name="Rectangle 730">
            <a:extLst>
              <a:ext uri="{FF2B5EF4-FFF2-40B4-BE49-F238E27FC236}">
                <a16:creationId xmlns:a16="http://schemas.microsoft.com/office/drawing/2014/main" id="{ED55C5F4-7969-EB9B-F57F-90B059B32642}"/>
              </a:ext>
            </a:extLst>
          </p:cNvPr>
          <p:cNvSpPr/>
          <p:nvPr/>
        </p:nvSpPr>
        <p:spPr>
          <a:xfrm>
            <a:off x="1174750" y="741363"/>
            <a:ext cx="166688" cy="95250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732" name="Rectangle 731">
            <a:extLst>
              <a:ext uri="{FF2B5EF4-FFF2-40B4-BE49-F238E27FC236}">
                <a16:creationId xmlns:a16="http://schemas.microsoft.com/office/drawing/2014/main" id="{80A5421D-7C86-0BDD-DCAD-2901BE3B865F}"/>
              </a:ext>
            </a:extLst>
          </p:cNvPr>
          <p:cNvSpPr/>
          <p:nvPr/>
        </p:nvSpPr>
        <p:spPr>
          <a:xfrm>
            <a:off x="1174750" y="881063"/>
            <a:ext cx="166688" cy="9525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/>
          </a:p>
        </p:txBody>
      </p:sp>
      <p:sp>
        <p:nvSpPr>
          <p:cNvPr id="733" name="Rectangle 732">
            <a:extLst>
              <a:ext uri="{FF2B5EF4-FFF2-40B4-BE49-F238E27FC236}">
                <a16:creationId xmlns:a16="http://schemas.microsoft.com/office/drawing/2014/main" id="{E3D01A8E-ED9C-DF88-483B-B682A74E9076}"/>
              </a:ext>
            </a:extLst>
          </p:cNvPr>
          <p:cNvSpPr/>
          <p:nvPr/>
        </p:nvSpPr>
        <p:spPr>
          <a:xfrm>
            <a:off x="1484313" y="741363"/>
            <a:ext cx="166688" cy="95250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734" name="Rectangle 733">
            <a:extLst>
              <a:ext uri="{FF2B5EF4-FFF2-40B4-BE49-F238E27FC236}">
                <a16:creationId xmlns:a16="http://schemas.microsoft.com/office/drawing/2014/main" id="{2D84AB04-5D37-1317-E233-A1B3F033924A}"/>
              </a:ext>
            </a:extLst>
          </p:cNvPr>
          <p:cNvSpPr/>
          <p:nvPr/>
        </p:nvSpPr>
        <p:spPr>
          <a:xfrm>
            <a:off x="1484313" y="881063"/>
            <a:ext cx="166688" cy="9525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/>
          </a:p>
        </p:txBody>
      </p:sp>
      <p:sp>
        <p:nvSpPr>
          <p:cNvPr id="735" name="Rectangle 734">
            <a:extLst>
              <a:ext uri="{FF2B5EF4-FFF2-40B4-BE49-F238E27FC236}">
                <a16:creationId xmlns:a16="http://schemas.microsoft.com/office/drawing/2014/main" id="{46528988-349A-EB13-D5B5-4DE15D27A8EA}"/>
              </a:ext>
            </a:extLst>
          </p:cNvPr>
          <p:cNvSpPr/>
          <p:nvPr/>
        </p:nvSpPr>
        <p:spPr>
          <a:xfrm>
            <a:off x="1793875" y="741363"/>
            <a:ext cx="166688" cy="95250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736" name="Rectangle 735">
            <a:extLst>
              <a:ext uri="{FF2B5EF4-FFF2-40B4-BE49-F238E27FC236}">
                <a16:creationId xmlns:a16="http://schemas.microsoft.com/office/drawing/2014/main" id="{EAF1E493-3CBE-1571-A7F2-E0C4989F7134}"/>
              </a:ext>
            </a:extLst>
          </p:cNvPr>
          <p:cNvSpPr/>
          <p:nvPr/>
        </p:nvSpPr>
        <p:spPr>
          <a:xfrm>
            <a:off x="1793875" y="881063"/>
            <a:ext cx="166688" cy="9525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/>
          </a:p>
        </p:txBody>
      </p:sp>
      <p:sp>
        <p:nvSpPr>
          <p:cNvPr id="737" name="Rectangle 736">
            <a:extLst>
              <a:ext uri="{FF2B5EF4-FFF2-40B4-BE49-F238E27FC236}">
                <a16:creationId xmlns:a16="http://schemas.microsoft.com/office/drawing/2014/main" id="{B4FF4D8B-100B-09D0-CB73-F1273B56465E}"/>
              </a:ext>
            </a:extLst>
          </p:cNvPr>
          <p:cNvSpPr/>
          <p:nvPr/>
        </p:nvSpPr>
        <p:spPr>
          <a:xfrm>
            <a:off x="2127250" y="741363"/>
            <a:ext cx="166688" cy="95250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738" name="Rectangle 737">
            <a:extLst>
              <a:ext uri="{FF2B5EF4-FFF2-40B4-BE49-F238E27FC236}">
                <a16:creationId xmlns:a16="http://schemas.microsoft.com/office/drawing/2014/main" id="{F2830987-3DAC-C8BF-2D1C-E2633D9B5041}"/>
              </a:ext>
            </a:extLst>
          </p:cNvPr>
          <p:cNvSpPr/>
          <p:nvPr/>
        </p:nvSpPr>
        <p:spPr>
          <a:xfrm>
            <a:off x="2127250" y="881063"/>
            <a:ext cx="166688" cy="9525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/>
          </a:p>
        </p:txBody>
      </p:sp>
      <p:sp>
        <p:nvSpPr>
          <p:cNvPr id="739" name="Rectangle 738">
            <a:extLst>
              <a:ext uri="{FF2B5EF4-FFF2-40B4-BE49-F238E27FC236}">
                <a16:creationId xmlns:a16="http://schemas.microsoft.com/office/drawing/2014/main" id="{D6552540-B567-429C-4A6C-A8896DBCC499}"/>
              </a:ext>
            </a:extLst>
          </p:cNvPr>
          <p:cNvSpPr/>
          <p:nvPr/>
        </p:nvSpPr>
        <p:spPr>
          <a:xfrm>
            <a:off x="2436813" y="741363"/>
            <a:ext cx="166688" cy="95250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740" name="Rectangle 739">
            <a:extLst>
              <a:ext uri="{FF2B5EF4-FFF2-40B4-BE49-F238E27FC236}">
                <a16:creationId xmlns:a16="http://schemas.microsoft.com/office/drawing/2014/main" id="{75C9A732-7711-80AF-6090-97E820926DE2}"/>
              </a:ext>
            </a:extLst>
          </p:cNvPr>
          <p:cNvSpPr/>
          <p:nvPr/>
        </p:nvSpPr>
        <p:spPr>
          <a:xfrm>
            <a:off x="2436813" y="881063"/>
            <a:ext cx="166688" cy="9525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/>
          </a:p>
        </p:txBody>
      </p:sp>
      <p:sp>
        <p:nvSpPr>
          <p:cNvPr id="741" name="Rectangle 740">
            <a:extLst>
              <a:ext uri="{FF2B5EF4-FFF2-40B4-BE49-F238E27FC236}">
                <a16:creationId xmlns:a16="http://schemas.microsoft.com/office/drawing/2014/main" id="{4E07B5AC-B99B-2D2C-E370-4BEAD5033A61}"/>
              </a:ext>
            </a:extLst>
          </p:cNvPr>
          <p:cNvSpPr/>
          <p:nvPr/>
        </p:nvSpPr>
        <p:spPr>
          <a:xfrm>
            <a:off x="2713038" y="741363"/>
            <a:ext cx="166688" cy="95250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 dirty="0"/>
          </a:p>
        </p:txBody>
      </p:sp>
      <p:sp>
        <p:nvSpPr>
          <p:cNvPr id="742" name="Rectangle 741">
            <a:extLst>
              <a:ext uri="{FF2B5EF4-FFF2-40B4-BE49-F238E27FC236}">
                <a16:creationId xmlns:a16="http://schemas.microsoft.com/office/drawing/2014/main" id="{ACF69409-3024-2529-F7D3-00C0BDB68C37}"/>
              </a:ext>
            </a:extLst>
          </p:cNvPr>
          <p:cNvSpPr/>
          <p:nvPr/>
        </p:nvSpPr>
        <p:spPr>
          <a:xfrm>
            <a:off x="2713038" y="881063"/>
            <a:ext cx="166688" cy="9525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b="1"/>
          </a:p>
        </p:txBody>
      </p:sp>
      <p:sp>
        <p:nvSpPr>
          <p:cNvPr id="743" name="Rectangle 742">
            <a:extLst>
              <a:ext uri="{FF2B5EF4-FFF2-40B4-BE49-F238E27FC236}">
                <a16:creationId xmlns:a16="http://schemas.microsoft.com/office/drawing/2014/main" id="{193AA47B-610D-BC90-0127-666B16642977}"/>
              </a:ext>
            </a:extLst>
          </p:cNvPr>
          <p:cNvSpPr/>
          <p:nvPr/>
        </p:nvSpPr>
        <p:spPr>
          <a:xfrm>
            <a:off x="212725" y="2565400"/>
            <a:ext cx="166688" cy="95250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44" name="Rectangle 743">
            <a:extLst>
              <a:ext uri="{FF2B5EF4-FFF2-40B4-BE49-F238E27FC236}">
                <a16:creationId xmlns:a16="http://schemas.microsoft.com/office/drawing/2014/main" id="{52AA2A6E-7CD8-CD4A-E57F-7A1A48AEA4D3}"/>
              </a:ext>
            </a:extLst>
          </p:cNvPr>
          <p:cNvSpPr/>
          <p:nvPr/>
        </p:nvSpPr>
        <p:spPr>
          <a:xfrm>
            <a:off x="698500" y="2568575"/>
            <a:ext cx="166688" cy="9525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45" name="Rectangle 744">
            <a:extLst>
              <a:ext uri="{FF2B5EF4-FFF2-40B4-BE49-F238E27FC236}">
                <a16:creationId xmlns:a16="http://schemas.microsoft.com/office/drawing/2014/main" id="{49EEB3C3-C2AD-651F-DC8C-C4E53327D24C}"/>
              </a:ext>
            </a:extLst>
          </p:cNvPr>
          <p:cNvSpPr/>
          <p:nvPr/>
        </p:nvSpPr>
        <p:spPr>
          <a:xfrm>
            <a:off x="1328738" y="2574925"/>
            <a:ext cx="166688" cy="95250"/>
          </a:xfrm>
          <a:prstGeom prst="rect">
            <a:avLst/>
          </a:prstGeom>
          <a:solidFill>
            <a:schemeClr val="accent2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46" name="Rectangle 745">
            <a:extLst>
              <a:ext uri="{FF2B5EF4-FFF2-40B4-BE49-F238E27FC236}">
                <a16:creationId xmlns:a16="http://schemas.microsoft.com/office/drawing/2014/main" id="{832F32A4-D9CA-40F7-0D90-F6AC40F8739D}"/>
              </a:ext>
            </a:extLst>
          </p:cNvPr>
          <p:cNvSpPr/>
          <p:nvPr/>
        </p:nvSpPr>
        <p:spPr>
          <a:xfrm>
            <a:off x="1819275" y="2568575"/>
            <a:ext cx="166688" cy="95250"/>
          </a:xfrm>
          <a:prstGeom prst="rect">
            <a:avLst/>
          </a:prstGeom>
          <a:solidFill>
            <a:schemeClr val="accent3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47" name="Rectangle 746">
            <a:extLst>
              <a:ext uri="{FF2B5EF4-FFF2-40B4-BE49-F238E27FC236}">
                <a16:creationId xmlns:a16="http://schemas.microsoft.com/office/drawing/2014/main" id="{82FE3662-0453-A79F-9646-43392DD36AFD}"/>
              </a:ext>
            </a:extLst>
          </p:cNvPr>
          <p:cNvSpPr/>
          <p:nvPr/>
        </p:nvSpPr>
        <p:spPr>
          <a:xfrm>
            <a:off x="2478088" y="2559050"/>
            <a:ext cx="166688" cy="111125"/>
          </a:xfrm>
          <a:prstGeom prst="rect">
            <a:avLst/>
          </a:prstGeom>
          <a:solidFill>
            <a:schemeClr val="accent5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48" name="TextBox 747">
            <a:extLst>
              <a:ext uri="{FF2B5EF4-FFF2-40B4-BE49-F238E27FC236}">
                <a16:creationId xmlns:a16="http://schemas.microsoft.com/office/drawing/2014/main" id="{84349E1C-4546-DFBD-7B2E-C2468C387C37}"/>
              </a:ext>
            </a:extLst>
          </p:cNvPr>
          <p:cNvSpPr txBox="1"/>
          <p:nvPr/>
        </p:nvSpPr>
        <p:spPr>
          <a:xfrm>
            <a:off x="141288" y="712788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761.3</a:t>
            </a:r>
          </a:p>
        </p:txBody>
      </p:sp>
      <p:sp>
        <p:nvSpPr>
          <p:cNvPr id="749" name="TextBox 748">
            <a:extLst>
              <a:ext uri="{FF2B5EF4-FFF2-40B4-BE49-F238E27FC236}">
                <a16:creationId xmlns:a16="http://schemas.microsoft.com/office/drawing/2014/main" id="{B7060F14-B852-B5FD-8C4B-D8EBAA4997D0}"/>
              </a:ext>
            </a:extLst>
          </p:cNvPr>
          <p:cNvSpPr txBox="1"/>
          <p:nvPr/>
        </p:nvSpPr>
        <p:spPr>
          <a:xfrm>
            <a:off x="455613" y="715963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670.5</a:t>
            </a:r>
          </a:p>
        </p:txBody>
      </p:sp>
      <p:sp>
        <p:nvSpPr>
          <p:cNvPr id="750" name="TextBox 749">
            <a:extLst>
              <a:ext uri="{FF2B5EF4-FFF2-40B4-BE49-F238E27FC236}">
                <a16:creationId xmlns:a16="http://schemas.microsoft.com/office/drawing/2014/main" id="{BB1CBB51-C766-4895-F09A-4BC760F14699}"/>
              </a:ext>
            </a:extLst>
          </p:cNvPr>
          <p:cNvSpPr txBox="1"/>
          <p:nvPr/>
        </p:nvSpPr>
        <p:spPr>
          <a:xfrm>
            <a:off x="785813" y="719138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74.04</a:t>
            </a:r>
          </a:p>
        </p:txBody>
      </p:sp>
      <p:sp>
        <p:nvSpPr>
          <p:cNvPr id="751" name="TextBox 750">
            <a:extLst>
              <a:ext uri="{FF2B5EF4-FFF2-40B4-BE49-F238E27FC236}">
                <a16:creationId xmlns:a16="http://schemas.microsoft.com/office/drawing/2014/main" id="{FEC5417B-E8ED-01C7-EE96-B84FA03A51F5}"/>
              </a:ext>
            </a:extLst>
          </p:cNvPr>
          <p:cNvSpPr txBox="1"/>
          <p:nvPr/>
        </p:nvSpPr>
        <p:spPr>
          <a:xfrm>
            <a:off x="1120775" y="719138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487</a:t>
            </a:r>
          </a:p>
        </p:txBody>
      </p:sp>
      <p:sp>
        <p:nvSpPr>
          <p:cNvPr id="752" name="TextBox 751">
            <a:extLst>
              <a:ext uri="{FF2B5EF4-FFF2-40B4-BE49-F238E27FC236}">
                <a16:creationId xmlns:a16="http://schemas.microsoft.com/office/drawing/2014/main" id="{0EC49DA3-9552-58B8-ACFE-E09A34C62CB1}"/>
              </a:ext>
            </a:extLst>
          </p:cNvPr>
          <p:cNvSpPr txBox="1"/>
          <p:nvPr/>
        </p:nvSpPr>
        <p:spPr>
          <a:xfrm>
            <a:off x="1409700" y="719138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935.7</a:t>
            </a:r>
          </a:p>
        </p:txBody>
      </p:sp>
      <p:sp>
        <p:nvSpPr>
          <p:cNvPr id="753" name="TextBox 752">
            <a:extLst>
              <a:ext uri="{FF2B5EF4-FFF2-40B4-BE49-F238E27FC236}">
                <a16:creationId xmlns:a16="http://schemas.microsoft.com/office/drawing/2014/main" id="{86955A7E-F196-663B-344E-7D3F3C476166}"/>
              </a:ext>
            </a:extLst>
          </p:cNvPr>
          <p:cNvSpPr txBox="1"/>
          <p:nvPr/>
        </p:nvSpPr>
        <p:spPr>
          <a:xfrm>
            <a:off x="1716088" y="719138"/>
            <a:ext cx="346075" cy="153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364.4</a:t>
            </a:r>
          </a:p>
        </p:txBody>
      </p:sp>
      <p:sp>
        <p:nvSpPr>
          <p:cNvPr id="754" name="TextBox 753">
            <a:extLst>
              <a:ext uri="{FF2B5EF4-FFF2-40B4-BE49-F238E27FC236}">
                <a16:creationId xmlns:a16="http://schemas.microsoft.com/office/drawing/2014/main" id="{0D9542E9-C6D2-8D62-4795-5E4846A1EAEE}"/>
              </a:ext>
            </a:extLst>
          </p:cNvPr>
          <p:cNvSpPr txBox="1"/>
          <p:nvPr/>
        </p:nvSpPr>
        <p:spPr>
          <a:xfrm>
            <a:off x="2065338" y="719138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5738</a:t>
            </a:r>
          </a:p>
        </p:txBody>
      </p:sp>
      <p:sp>
        <p:nvSpPr>
          <p:cNvPr id="755" name="TextBox 754">
            <a:extLst>
              <a:ext uri="{FF2B5EF4-FFF2-40B4-BE49-F238E27FC236}">
                <a16:creationId xmlns:a16="http://schemas.microsoft.com/office/drawing/2014/main" id="{9EF659BF-6E30-F03B-8163-34A23A8EA18F}"/>
              </a:ext>
            </a:extLst>
          </p:cNvPr>
          <p:cNvSpPr txBox="1"/>
          <p:nvPr/>
        </p:nvSpPr>
        <p:spPr>
          <a:xfrm>
            <a:off x="2351088" y="719138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12012</a:t>
            </a:r>
          </a:p>
        </p:txBody>
      </p:sp>
      <p:sp>
        <p:nvSpPr>
          <p:cNvPr id="756" name="TextBox 755">
            <a:extLst>
              <a:ext uri="{FF2B5EF4-FFF2-40B4-BE49-F238E27FC236}">
                <a16:creationId xmlns:a16="http://schemas.microsoft.com/office/drawing/2014/main" id="{93E3F27F-8414-6999-71CE-E2ADE9558C65}"/>
              </a:ext>
            </a:extLst>
          </p:cNvPr>
          <p:cNvSpPr txBox="1"/>
          <p:nvPr/>
        </p:nvSpPr>
        <p:spPr>
          <a:xfrm>
            <a:off x="2646363" y="719138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172.6</a:t>
            </a:r>
          </a:p>
        </p:txBody>
      </p:sp>
      <p:sp>
        <p:nvSpPr>
          <p:cNvPr id="757" name="TextBox 756">
            <a:extLst>
              <a:ext uri="{FF2B5EF4-FFF2-40B4-BE49-F238E27FC236}">
                <a16:creationId xmlns:a16="http://schemas.microsoft.com/office/drawing/2014/main" id="{911B32EE-83C9-D9AD-B0A4-DB3A5813612C}"/>
              </a:ext>
            </a:extLst>
          </p:cNvPr>
          <p:cNvSpPr txBox="1"/>
          <p:nvPr/>
        </p:nvSpPr>
        <p:spPr>
          <a:xfrm>
            <a:off x="149225" y="855663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172.4</a:t>
            </a:r>
          </a:p>
        </p:txBody>
      </p:sp>
      <p:sp>
        <p:nvSpPr>
          <p:cNvPr id="759" name="TextBox 758">
            <a:extLst>
              <a:ext uri="{FF2B5EF4-FFF2-40B4-BE49-F238E27FC236}">
                <a16:creationId xmlns:a16="http://schemas.microsoft.com/office/drawing/2014/main" id="{1C668D5E-4033-60DA-8DAE-F942A205374A}"/>
              </a:ext>
            </a:extLst>
          </p:cNvPr>
          <p:cNvSpPr txBox="1"/>
          <p:nvPr/>
        </p:nvSpPr>
        <p:spPr>
          <a:xfrm>
            <a:off x="460375" y="860425"/>
            <a:ext cx="346075" cy="153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230.6</a:t>
            </a:r>
          </a:p>
        </p:txBody>
      </p:sp>
      <p:sp>
        <p:nvSpPr>
          <p:cNvPr id="760" name="TextBox 759">
            <a:extLst>
              <a:ext uri="{FF2B5EF4-FFF2-40B4-BE49-F238E27FC236}">
                <a16:creationId xmlns:a16="http://schemas.microsoft.com/office/drawing/2014/main" id="{743815C2-71E1-A5AC-7299-1EF4FA38F9A3}"/>
              </a:ext>
            </a:extLst>
          </p:cNvPr>
          <p:cNvSpPr txBox="1"/>
          <p:nvPr/>
        </p:nvSpPr>
        <p:spPr>
          <a:xfrm>
            <a:off x="790575" y="860425"/>
            <a:ext cx="346075" cy="153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36.88</a:t>
            </a:r>
          </a:p>
        </p:txBody>
      </p:sp>
      <p:sp>
        <p:nvSpPr>
          <p:cNvPr id="761" name="TextBox 760">
            <a:extLst>
              <a:ext uri="{FF2B5EF4-FFF2-40B4-BE49-F238E27FC236}">
                <a16:creationId xmlns:a16="http://schemas.microsoft.com/office/drawing/2014/main" id="{9CA1AA0C-2B01-4EE3-A068-06D30CAFC5A0}"/>
              </a:ext>
            </a:extLst>
          </p:cNvPr>
          <p:cNvSpPr txBox="1"/>
          <p:nvPr/>
        </p:nvSpPr>
        <p:spPr>
          <a:xfrm>
            <a:off x="1093788" y="857250"/>
            <a:ext cx="346075" cy="153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156.2</a:t>
            </a:r>
          </a:p>
        </p:txBody>
      </p:sp>
      <p:sp>
        <p:nvSpPr>
          <p:cNvPr id="762" name="TextBox 761">
            <a:extLst>
              <a:ext uri="{FF2B5EF4-FFF2-40B4-BE49-F238E27FC236}">
                <a16:creationId xmlns:a16="http://schemas.microsoft.com/office/drawing/2014/main" id="{8301C9DD-5624-1256-0C3F-00E4A0FB4BB9}"/>
              </a:ext>
            </a:extLst>
          </p:cNvPr>
          <p:cNvSpPr txBox="1"/>
          <p:nvPr/>
        </p:nvSpPr>
        <p:spPr>
          <a:xfrm>
            <a:off x="1408113" y="860425"/>
            <a:ext cx="346075" cy="153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254.7</a:t>
            </a:r>
          </a:p>
        </p:txBody>
      </p:sp>
      <p:sp>
        <p:nvSpPr>
          <p:cNvPr id="763" name="TextBox 762">
            <a:extLst>
              <a:ext uri="{FF2B5EF4-FFF2-40B4-BE49-F238E27FC236}">
                <a16:creationId xmlns:a16="http://schemas.microsoft.com/office/drawing/2014/main" id="{251A6F07-3B3E-9C08-68E9-B73B02860D29}"/>
              </a:ext>
            </a:extLst>
          </p:cNvPr>
          <p:cNvSpPr txBox="1"/>
          <p:nvPr/>
        </p:nvSpPr>
        <p:spPr>
          <a:xfrm>
            <a:off x="1720850" y="857250"/>
            <a:ext cx="346075" cy="153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32.96</a:t>
            </a:r>
          </a:p>
        </p:txBody>
      </p:sp>
      <p:sp>
        <p:nvSpPr>
          <p:cNvPr id="764" name="TextBox 763">
            <a:extLst>
              <a:ext uri="{FF2B5EF4-FFF2-40B4-BE49-F238E27FC236}">
                <a16:creationId xmlns:a16="http://schemas.microsoft.com/office/drawing/2014/main" id="{025A8EA9-5F7F-1153-0CB6-4E8A5FC2BD76}"/>
              </a:ext>
            </a:extLst>
          </p:cNvPr>
          <p:cNvSpPr txBox="1"/>
          <p:nvPr/>
        </p:nvSpPr>
        <p:spPr>
          <a:xfrm>
            <a:off x="2051050" y="857250"/>
            <a:ext cx="346075" cy="153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775.4</a:t>
            </a:r>
          </a:p>
        </p:txBody>
      </p:sp>
      <p:sp>
        <p:nvSpPr>
          <p:cNvPr id="765" name="TextBox 764">
            <a:extLst>
              <a:ext uri="{FF2B5EF4-FFF2-40B4-BE49-F238E27FC236}">
                <a16:creationId xmlns:a16="http://schemas.microsoft.com/office/drawing/2014/main" id="{BBFFAE39-E483-CEF6-BE4D-AA2D395C5BE0}"/>
              </a:ext>
            </a:extLst>
          </p:cNvPr>
          <p:cNvSpPr txBox="1"/>
          <p:nvPr/>
        </p:nvSpPr>
        <p:spPr>
          <a:xfrm>
            <a:off x="2359025" y="860425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1285</a:t>
            </a:r>
          </a:p>
        </p:txBody>
      </p:sp>
      <p:sp>
        <p:nvSpPr>
          <p:cNvPr id="766" name="TextBox 765">
            <a:extLst>
              <a:ext uri="{FF2B5EF4-FFF2-40B4-BE49-F238E27FC236}">
                <a16:creationId xmlns:a16="http://schemas.microsoft.com/office/drawing/2014/main" id="{E757189A-D969-CE1B-BE62-E2A42BFF77F1}"/>
              </a:ext>
            </a:extLst>
          </p:cNvPr>
          <p:cNvSpPr txBox="1"/>
          <p:nvPr/>
        </p:nvSpPr>
        <p:spPr>
          <a:xfrm>
            <a:off x="2646363" y="860425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69.04</a:t>
            </a:r>
          </a:p>
        </p:txBody>
      </p:sp>
      <p:sp>
        <p:nvSpPr>
          <p:cNvPr id="769" name="TextBox 768">
            <a:extLst>
              <a:ext uri="{FF2B5EF4-FFF2-40B4-BE49-F238E27FC236}">
                <a16:creationId xmlns:a16="http://schemas.microsoft.com/office/drawing/2014/main" id="{A8F676A3-9594-8DE7-999C-8ADB907FAF66}"/>
              </a:ext>
            </a:extLst>
          </p:cNvPr>
          <p:cNvSpPr txBox="1"/>
          <p:nvPr/>
        </p:nvSpPr>
        <p:spPr>
          <a:xfrm>
            <a:off x="300038" y="2511425"/>
            <a:ext cx="454025" cy="214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00" dirty="0"/>
              <a:t>CHE </a:t>
            </a:r>
          </a:p>
          <a:p>
            <a:pPr algn="ctr"/>
            <a:r>
              <a:rPr lang="en-IN" sz="400" dirty="0"/>
              <a:t>Per capita</a:t>
            </a:r>
          </a:p>
        </p:txBody>
      </p:sp>
      <p:sp>
        <p:nvSpPr>
          <p:cNvPr id="770" name="TextBox 769">
            <a:extLst>
              <a:ext uri="{FF2B5EF4-FFF2-40B4-BE49-F238E27FC236}">
                <a16:creationId xmlns:a16="http://schemas.microsoft.com/office/drawing/2014/main" id="{43D05764-F4ED-2638-9B9E-820C4AEA5EE1}"/>
              </a:ext>
            </a:extLst>
          </p:cNvPr>
          <p:cNvSpPr txBox="1"/>
          <p:nvPr/>
        </p:nvSpPr>
        <p:spPr>
          <a:xfrm>
            <a:off x="782638" y="2508250"/>
            <a:ext cx="622300" cy="215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00" dirty="0"/>
              <a:t>OOP expenditure per capita</a:t>
            </a:r>
          </a:p>
        </p:txBody>
      </p:sp>
      <p:sp>
        <p:nvSpPr>
          <p:cNvPr id="771" name="TextBox 770">
            <a:extLst>
              <a:ext uri="{FF2B5EF4-FFF2-40B4-BE49-F238E27FC236}">
                <a16:creationId xmlns:a16="http://schemas.microsoft.com/office/drawing/2014/main" id="{DB2541E9-53E7-C326-2AC4-2FAB4C7339B1}"/>
              </a:ext>
            </a:extLst>
          </p:cNvPr>
          <p:cNvSpPr txBox="1"/>
          <p:nvPr/>
        </p:nvSpPr>
        <p:spPr>
          <a:xfrm>
            <a:off x="1327150" y="2508250"/>
            <a:ext cx="622300" cy="215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00" dirty="0"/>
              <a:t>CHE as </a:t>
            </a:r>
          </a:p>
          <a:p>
            <a:pPr algn="ctr"/>
            <a:r>
              <a:rPr lang="en-IN" sz="400" dirty="0"/>
              <a:t>% of GDP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C6711033-92DC-7156-7157-ECDCB1972CC4}"/>
              </a:ext>
            </a:extLst>
          </p:cNvPr>
          <p:cNvSpPr txBox="1"/>
          <p:nvPr/>
        </p:nvSpPr>
        <p:spPr>
          <a:xfrm>
            <a:off x="1903413" y="2514600"/>
            <a:ext cx="622300" cy="215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00" dirty="0"/>
              <a:t>OOP expenditure as % of GDP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03228F99-CEB9-BBCB-555E-AD4B29027C94}"/>
              </a:ext>
            </a:extLst>
          </p:cNvPr>
          <p:cNvSpPr txBox="1"/>
          <p:nvPr/>
        </p:nvSpPr>
        <p:spPr>
          <a:xfrm>
            <a:off x="2565400" y="2508250"/>
            <a:ext cx="6762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00" dirty="0"/>
              <a:t>Bed density</a:t>
            </a:r>
          </a:p>
          <a:p>
            <a:pPr algn="ctr"/>
            <a:r>
              <a:rPr lang="en-IN" sz="400" dirty="0"/>
              <a:t>(per 10k population)</a:t>
            </a:r>
          </a:p>
        </p:txBody>
      </p:sp>
      <p:sp>
        <p:nvSpPr>
          <p:cNvPr id="778" name="Rectangle 777">
            <a:extLst>
              <a:ext uri="{FF2B5EF4-FFF2-40B4-BE49-F238E27FC236}">
                <a16:creationId xmlns:a16="http://schemas.microsoft.com/office/drawing/2014/main" id="{A4E9DD76-402A-D937-78B7-775C638D5BC2}"/>
              </a:ext>
            </a:extLst>
          </p:cNvPr>
          <p:cNvSpPr/>
          <p:nvPr/>
        </p:nvSpPr>
        <p:spPr>
          <a:xfrm>
            <a:off x="212725" y="481013"/>
            <a:ext cx="2725738" cy="1524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Expenditure &amp; bed density on healthcare by country </a:t>
            </a:r>
          </a:p>
        </p:txBody>
      </p:sp>
      <p:sp>
        <p:nvSpPr>
          <p:cNvPr id="779" name="Rectangle 778">
            <a:extLst>
              <a:ext uri="{FF2B5EF4-FFF2-40B4-BE49-F238E27FC236}">
                <a16:creationId xmlns:a16="http://schemas.microsoft.com/office/drawing/2014/main" id="{18047F92-2E90-F3B3-5A70-FA0164C47527}"/>
              </a:ext>
            </a:extLst>
          </p:cNvPr>
          <p:cNvSpPr/>
          <p:nvPr/>
        </p:nvSpPr>
        <p:spPr>
          <a:xfrm>
            <a:off x="3221038" y="481013"/>
            <a:ext cx="2854642" cy="149219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Market growth in India in terms of bed capacity</a:t>
            </a:r>
          </a:p>
        </p:txBody>
      </p:sp>
      <p:graphicFrame>
        <p:nvGraphicFramePr>
          <p:cNvPr id="1089" name="Chart 1088">
            <a:extLst>
              <a:ext uri="{FF2B5EF4-FFF2-40B4-BE49-F238E27FC236}">
                <a16:creationId xmlns:a16="http://schemas.microsoft.com/office/drawing/2014/main" id="{A29986C0-10A9-4000-424A-E64243A72302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62530703"/>
              </p:ext>
            </p:extLst>
          </p:nvPr>
        </p:nvGraphicFramePr>
        <p:xfrm>
          <a:off x="3138488" y="792163"/>
          <a:ext cx="3081337" cy="176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cxnSp>
        <p:nvCxnSpPr>
          <p:cNvPr id="1062" name="Straight Connector 1061">
            <a:extLst>
              <a:ext uri="{FF2B5EF4-FFF2-40B4-BE49-F238E27FC236}">
                <a16:creationId xmlns:a16="http://schemas.microsoft.com/office/drawing/2014/main" id="{32D0A363-1A83-10AF-CCA9-4BAA8F45905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3403600" y="1200150"/>
            <a:ext cx="0" cy="161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3" name="Straight Connector 1062">
            <a:extLst>
              <a:ext uri="{FF2B5EF4-FFF2-40B4-BE49-F238E27FC236}">
                <a16:creationId xmlns:a16="http://schemas.microsoft.com/office/drawing/2014/main" id="{4C0E2E09-2449-EB80-1247-F449BB38EFAB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3403600" y="1200150"/>
            <a:ext cx="3302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4" name="Straight Connector 1063">
            <a:extLst>
              <a:ext uri="{FF2B5EF4-FFF2-40B4-BE49-F238E27FC236}">
                <a16:creationId xmlns:a16="http://schemas.microsoft.com/office/drawing/2014/main" id="{FE780626-D7FD-0B2C-DA19-20A89EA76965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3733800" y="12001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7" name="Straight Connector 1066">
            <a:extLst>
              <a:ext uri="{FF2B5EF4-FFF2-40B4-BE49-F238E27FC236}">
                <a16:creationId xmlns:a16="http://schemas.microsoft.com/office/drawing/2014/main" id="{9C42ED32-60B4-9413-0CA5-944A74665B96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4098925" y="12128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5" name="Straight Connector 1064">
            <a:extLst>
              <a:ext uri="{FF2B5EF4-FFF2-40B4-BE49-F238E27FC236}">
                <a16:creationId xmlns:a16="http://schemas.microsoft.com/office/drawing/2014/main" id="{7308B126-ABF1-2A04-4A39-DC9AC318E3C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3800475" y="1212850"/>
            <a:ext cx="0" cy="1397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6" name="Straight Connector 1065">
            <a:extLst>
              <a:ext uri="{FF2B5EF4-FFF2-40B4-BE49-F238E27FC236}">
                <a16:creationId xmlns:a16="http://schemas.microsoft.com/office/drawing/2014/main" id="{CCD20F50-3844-3C52-6FD8-CFF89DC67E04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3800475" y="1212850"/>
            <a:ext cx="2984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9" name="Straight Connector 1068">
            <a:extLst>
              <a:ext uri="{FF2B5EF4-FFF2-40B4-BE49-F238E27FC236}">
                <a16:creationId xmlns:a16="http://schemas.microsoft.com/office/drawing/2014/main" id="{AAA6C59B-E52A-88D7-C252-1783EEA23C08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4165600" y="1177925"/>
            <a:ext cx="2984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0" name="Straight Connector 1069">
            <a:extLst>
              <a:ext uri="{FF2B5EF4-FFF2-40B4-BE49-F238E27FC236}">
                <a16:creationId xmlns:a16="http://schemas.microsoft.com/office/drawing/2014/main" id="{D5A497CB-D697-281F-A8E5-7C6F20F99251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4464050" y="11779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8" name="Straight Connector 1067">
            <a:extLst>
              <a:ext uri="{FF2B5EF4-FFF2-40B4-BE49-F238E27FC236}">
                <a16:creationId xmlns:a16="http://schemas.microsoft.com/office/drawing/2014/main" id="{6E778FB1-536A-88FF-D93B-331B0BAF871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V="1">
            <a:off x="4165600" y="1177925"/>
            <a:ext cx="0" cy="1873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1" name="Straight Connector 1070">
            <a:extLst>
              <a:ext uri="{FF2B5EF4-FFF2-40B4-BE49-F238E27FC236}">
                <a16:creationId xmlns:a16="http://schemas.microsoft.com/office/drawing/2014/main" id="{62AE16DF-300B-8FCB-CC57-F69A1D8B1072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4530725" y="1125538"/>
            <a:ext cx="0" cy="2047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2" name="Straight Connector 1071">
            <a:extLst>
              <a:ext uri="{FF2B5EF4-FFF2-40B4-BE49-F238E27FC236}">
                <a16:creationId xmlns:a16="http://schemas.microsoft.com/office/drawing/2014/main" id="{F25464B8-2E28-E94B-8BC7-99CFA8DB979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4530725" y="1125538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3" name="Straight Connector 1072">
            <a:extLst>
              <a:ext uri="{FF2B5EF4-FFF2-40B4-BE49-F238E27FC236}">
                <a16:creationId xmlns:a16="http://schemas.microsoft.com/office/drawing/2014/main" id="{29ACA8F9-2ABD-C161-807D-0CF9E05D17C0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4827588" y="11255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4" name="Straight Connector 1073">
            <a:extLst>
              <a:ext uri="{FF2B5EF4-FFF2-40B4-BE49-F238E27FC236}">
                <a16:creationId xmlns:a16="http://schemas.microsoft.com/office/drawing/2014/main" id="{BDE56622-75F5-4EFC-C364-BE4C75729BE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4894263" y="906463"/>
            <a:ext cx="0" cy="3714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5" name="Straight Connector 1074">
            <a:extLst>
              <a:ext uri="{FF2B5EF4-FFF2-40B4-BE49-F238E27FC236}">
                <a16:creationId xmlns:a16="http://schemas.microsoft.com/office/drawing/2014/main" id="{278E92A5-4155-F861-EAF3-80FC1B9E9AD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4894263" y="906463"/>
            <a:ext cx="2984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6" name="Straight Connector 1075">
            <a:extLst>
              <a:ext uri="{FF2B5EF4-FFF2-40B4-BE49-F238E27FC236}">
                <a16:creationId xmlns:a16="http://schemas.microsoft.com/office/drawing/2014/main" id="{EC1FD7EA-E4AC-E2B5-E539-82B3E4EE57D0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192713" y="906463"/>
            <a:ext cx="0" cy="2190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7" name="Straight Connector 1076">
            <a:extLst>
              <a:ext uri="{FF2B5EF4-FFF2-40B4-BE49-F238E27FC236}">
                <a16:creationId xmlns:a16="http://schemas.microsoft.com/office/drawing/2014/main" id="{1D50571C-C75B-B52C-8B0B-EA99142779E7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5259388" y="776288"/>
            <a:ext cx="0" cy="3492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8" name="Straight Connector 1077">
            <a:extLst>
              <a:ext uri="{FF2B5EF4-FFF2-40B4-BE49-F238E27FC236}">
                <a16:creationId xmlns:a16="http://schemas.microsoft.com/office/drawing/2014/main" id="{E0B1B543-A98B-8AE3-680E-F0825D23F4F2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259388" y="776288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9" name="Straight Connector 1078">
            <a:extLst>
              <a:ext uri="{FF2B5EF4-FFF2-40B4-BE49-F238E27FC236}">
                <a16:creationId xmlns:a16="http://schemas.microsoft.com/office/drawing/2014/main" id="{12CC3B0C-50BB-A561-A32F-70FEDE0578E0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5556250" y="776288"/>
            <a:ext cx="0" cy="2190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0" name="Straight Connector 1079">
            <a:extLst>
              <a:ext uri="{FF2B5EF4-FFF2-40B4-BE49-F238E27FC236}">
                <a16:creationId xmlns:a16="http://schemas.microsoft.com/office/drawing/2014/main" id="{341C9AD9-BFD5-5BF1-E35D-74CB424A405A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V="1">
            <a:off x="5622925" y="725488"/>
            <a:ext cx="0" cy="2698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1" name="Straight Connector 1080">
            <a:extLst>
              <a:ext uri="{FF2B5EF4-FFF2-40B4-BE49-F238E27FC236}">
                <a16:creationId xmlns:a16="http://schemas.microsoft.com/office/drawing/2014/main" id="{A878B7F8-7172-9B84-96DF-32F317C0B182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5622925" y="725488"/>
            <a:ext cx="331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2" name="Straight Connector 1081">
            <a:extLst>
              <a:ext uri="{FF2B5EF4-FFF2-40B4-BE49-F238E27FC236}">
                <a16:creationId xmlns:a16="http://schemas.microsoft.com/office/drawing/2014/main" id="{4FF1FDAC-C4B0-9E2B-8C82-647C73429495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5954713" y="7254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4" name="Google Shape;7;p1">
            <a:extLst>
              <a:ext uri="{FF2B5EF4-FFF2-40B4-BE49-F238E27FC236}">
                <a16:creationId xmlns:a16="http://schemas.microsoft.com/office/drawing/2014/main" id="{C8ED543C-9F90-78FD-C0D8-47A60DE2B745}"/>
              </a:ext>
            </a:extLst>
          </p:cNvPr>
          <p:cNvSpPr txBox="1"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306763" y="2454275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BCA35DD-4991-4330-B802-34480AA232B0}" type="datetime'''''''''''''F''''''''''''''''''''''''''''Y''''20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0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5" name="Google Shape;7;p1">
            <a:extLst>
              <a:ext uri="{FF2B5EF4-FFF2-40B4-BE49-F238E27FC236}">
                <a16:creationId xmlns:a16="http://schemas.microsoft.com/office/drawing/2014/main" id="{B06B15EC-8CE4-274B-4EB4-DFD55C81572E}"/>
              </a:ext>
            </a:extLst>
          </p:cNvPr>
          <p:cNvSpPr txBox="1"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670300" y="2454275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281EE87-D3E1-4187-8318-B5B371A7AFE2}" type="datetime'''F''''''''''''''''''Y2''''1''''''''''''''''''''''''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1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8" name="Google Shape;7;p1">
            <a:extLst>
              <a:ext uri="{FF2B5EF4-FFF2-40B4-BE49-F238E27FC236}">
                <a16:creationId xmlns:a16="http://schemas.microsoft.com/office/drawing/2014/main" id="{02A13B5F-BC8D-AFBC-93D7-886D592A1190}"/>
              </a:ext>
            </a:extLst>
          </p:cNvPr>
          <p:cNvSpPr txBox="1"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035425" y="2454275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82F67DA-99AA-45E0-A939-E804B3F73BA3}" type="datetime'''F''''''''Y''''''''''''2''''''''''''2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2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1" name="Google Shape;7;p1">
            <a:extLst>
              <a:ext uri="{FF2B5EF4-FFF2-40B4-BE49-F238E27FC236}">
                <a16:creationId xmlns:a16="http://schemas.microsoft.com/office/drawing/2014/main" id="{BF8BC957-89A6-12FB-5C60-71B83D7436B0}"/>
              </a:ext>
            </a:extLst>
          </p:cNvPr>
          <p:cNvSpPr txBox="1"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400550" y="2454275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61C2EFE-67AB-4818-BA0E-424172251EF4}" type="datetime'''''''''''''''''F''''''''''Y''''2''''''''''''''3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3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4" name="Google Shape;7;p1">
            <a:extLst>
              <a:ext uri="{FF2B5EF4-FFF2-40B4-BE49-F238E27FC236}">
                <a16:creationId xmlns:a16="http://schemas.microsoft.com/office/drawing/2014/main" id="{10653489-FD63-EB8C-B6EB-0FB5AB499167}"/>
              </a:ext>
            </a:extLst>
          </p:cNvPr>
          <p:cNvSpPr txBox="1"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702175" y="2454275"/>
            <a:ext cx="31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C84A7E-3AF9-405A-9A11-AD420BB5186E}" type="datetime'''''''''''''''''F''''Y''''2''''''''''''''4'''' ''(''''E'')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4 (E)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7" name="Google Shape;7;p1">
            <a:extLst>
              <a:ext uri="{FF2B5EF4-FFF2-40B4-BE49-F238E27FC236}">
                <a16:creationId xmlns:a16="http://schemas.microsoft.com/office/drawing/2014/main" id="{58E075C7-B1CD-409B-9457-7316DA063192}"/>
              </a:ext>
            </a:extLst>
          </p:cNvPr>
          <p:cNvSpPr txBox="1"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067300" y="2454275"/>
            <a:ext cx="31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34B64E4-4C2E-423D-9B8B-94661F66CDC2}" type="datetime'''''F''''''Y''''''''''2''5'''''''''''' ''''''(P'')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5 (P)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0" name="Google Shape;7;p1">
            <a:extLst>
              <a:ext uri="{FF2B5EF4-FFF2-40B4-BE49-F238E27FC236}">
                <a16:creationId xmlns:a16="http://schemas.microsoft.com/office/drawing/2014/main" id="{82F0BFA4-3D4D-4DD8-F7BF-162151F2E0B4}"/>
              </a:ext>
            </a:extLst>
          </p:cNvPr>
          <p:cNvSpPr txBox="1"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430838" y="2454275"/>
            <a:ext cx="31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7C73084-912A-45F7-A347-968BC05C7C8F}" type="datetime'F''''Y''''''''''2''''''''6'''''''' ''(''''''''P'''')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6 (P)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63" name="Google Shape;7;p1">
            <a:extLst>
              <a:ext uri="{FF2B5EF4-FFF2-40B4-BE49-F238E27FC236}">
                <a16:creationId xmlns:a16="http://schemas.microsoft.com/office/drawing/2014/main" id="{C23E366C-1B19-BDD7-ADB5-73BCA2E8C3FD}"/>
              </a:ext>
            </a:extLst>
          </p:cNvPr>
          <p:cNvSpPr txBox="1"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795963" y="2454275"/>
            <a:ext cx="31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F834FA5-21F2-4E46-9A4E-5A07B779BCFC}" type="datetime'''''F''''Y''2''''''''''''''7'' ''(''''P'')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7 (P)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4" name="Google Shape;7;p1">
            <a:extLst>
              <a:ext uri="{FF2B5EF4-FFF2-40B4-BE49-F238E27FC236}">
                <a16:creationId xmlns:a16="http://schemas.microsoft.com/office/drawing/2014/main" id="{19435273-3DBE-86AD-2786-894A71A16C1D}"/>
              </a:ext>
            </a:extLst>
          </p:cNvPr>
          <p:cNvSpPr txBox="1"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459163" y="1135063"/>
            <a:ext cx="220663" cy="131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5FB49E0-D50A-4CEB-A63E-A0CDE9764FAA}" type="datetime'''''''''+''''''''1''''''''''''%'''''''''''">
              <a:rPr lang="en-IN" altLang="en-US" sz="6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%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6" name="Google Shape;7;p1">
            <a:extLst>
              <a:ext uri="{FF2B5EF4-FFF2-40B4-BE49-F238E27FC236}">
                <a16:creationId xmlns:a16="http://schemas.microsoft.com/office/drawing/2014/main" id="{DCCFA01B-0F59-7D5E-849A-7F187B6B74EE}"/>
              </a:ext>
            </a:extLst>
          </p:cNvPr>
          <p:cNvSpPr txBox="1"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852863" y="1147763"/>
            <a:ext cx="193675" cy="131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2B74785-F2BB-4219-BF4B-37272F0CD9C5}" type="datetime'''''-1''''''''%'''''''''''''''''''''''''''''''">
              <a:rPr lang="en-IN" altLang="en-US" sz="6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%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7" name="Google Shape;7;p1">
            <a:extLst>
              <a:ext uri="{FF2B5EF4-FFF2-40B4-BE49-F238E27FC236}">
                <a16:creationId xmlns:a16="http://schemas.microsoft.com/office/drawing/2014/main" id="{039E7931-68E0-3C7E-E7C1-0CE67D1E456C}"/>
              </a:ext>
            </a:extLst>
          </p:cNvPr>
          <p:cNvSpPr txBox="1"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205288" y="1112838"/>
            <a:ext cx="220663" cy="131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EE18F3-E455-4401-9087-96EC2A9056DE}" type="datetime'''''''''''''''''''''''+''''3''''''''''''''''''%'''''''''''">
              <a:rPr lang="en-IN" altLang="en-US" sz="6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3%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8" name="Google Shape;7;p1">
            <a:extLst>
              <a:ext uri="{FF2B5EF4-FFF2-40B4-BE49-F238E27FC236}">
                <a16:creationId xmlns:a16="http://schemas.microsoft.com/office/drawing/2014/main" id="{98B06793-6A34-BC6B-7531-9A5E6D905D81}"/>
              </a:ext>
            </a:extLst>
          </p:cNvPr>
          <p:cNvSpPr txBox="1"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568825" y="1060450"/>
            <a:ext cx="220663" cy="131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A34025C-F04C-4F10-8C45-5D3221DEE0D2}" type="datetime'''''''''''''+''''''''''''''5''''''''''''''''''''''''%'''''">
              <a:rPr lang="en-IN" altLang="en-US" sz="6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5%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59" name="Google Shape;7;p1">
            <a:extLst>
              <a:ext uri="{FF2B5EF4-FFF2-40B4-BE49-F238E27FC236}">
                <a16:creationId xmlns:a16="http://schemas.microsoft.com/office/drawing/2014/main" id="{A5A67AD0-7C4A-AA9A-A49A-1B77FB255C18}"/>
              </a:ext>
            </a:extLst>
          </p:cNvPr>
          <p:cNvSpPr txBox="1"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903788" y="841375"/>
            <a:ext cx="280988" cy="131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E2A6DC6-80A0-470E-B153-DD4DC8866476}" type="datetime'''+1''''''''''''''''4''''''''''''''''''''%'''''''''''''''''''">
              <a:rPr lang="en-IN" altLang="en-US" sz="6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4%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60" name="Google Shape;7;p1">
            <a:extLst>
              <a:ext uri="{FF2B5EF4-FFF2-40B4-BE49-F238E27FC236}">
                <a16:creationId xmlns:a16="http://schemas.microsoft.com/office/drawing/2014/main" id="{5B5FFF32-4417-5BBB-2116-EFBBDAFCFEE3}"/>
              </a:ext>
            </a:extLst>
          </p:cNvPr>
          <p:cNvSpPr txBox="1"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267325" y="711200"/>
            <a:ext cx="280988" cy="131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62A1EBE-9A74-4B03-938A-A0896E9EAF2C}" type="datetime'''''''''''''''''''''''''''''''''''''''+''''1''0''%'''''''''''">
              <a:rPr lang="en-IN" altLang="en-US" sz="6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0%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61" name="Google Shape;7;p1">
            <a:extLst>
              <a:ext uri="{FF2B5EF4-FFF2-40B4-BE49-F238E27FC236}">
                <a16:creationId xmlns:a16="http://schemas.microsoft.com/office/drawing/2014/main" id="{D0FE9AC9-E047-1FB7-751C-4401F95D2602}"/>
              </a:ext>
            </a:extLst>
          </p:cNvPr>
          <p:cNvSpPr txBox="1"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678488" y="660400"/>
            <a:ext cx="220663" cy="131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8D23852-AA72-4E06-81F9-3A1464A39728}" type="datetime'''''''''''''''''''''''''''''''''''''''''''+''''8%'''''''''''''">
              <a:rPr lang="en-IN" altLang="en-US" sz="6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8%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91" name="Rectangle 1090">
            <a:extLst>
              <a:ext uri="{FF2B5EF4-FFF2-40B4-BE49-F238E27FC236}">
                <a16:creationId xmlns:a16="http://schemas.microsoft.com/office/drawing/2014/main" id="{78D439B3-7D90-3A7B-E705-F696BC9CC86F}"/>
              </a:ext>
            </a:extLst>
          </p:cNvPr>
          <p:cNvSpPr/>
          <p:nvPr/>
        </p:nvSpPr>
        <p:spPr>
          <a:xfrm>
            <a:off x="3733800" y="2565400"/>
            <a:ext cx="166688" cy="111125"/>
          </a:xfrm>
          <a:prstGeom prst="rect">
            <a:avLst/>
          </a:prstGeom>
          <a:solidFill>
            <a:schemeClr val="accent3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92" name="Rectangle 1091">
            <a:extLst>
              <a:ext uri="{FF2B5EF4-FFF2-40B4-BE49-F238E27FC236}">
                <a16:creationId xmlns:a16="http://schemas.microsoft.com/office/drawing/2014/main" id="{D96AAE23-B7AA-8957-4F69-F10226787F7B}"/>
              </a:ext>
            </a:extLst>
          </p:cNvPr>
          <p:cNvSpPr/>
          <p:nvPr/>
        </p:nvSpPr>
        <p:spPr>
          <a:xfrm>
            <a:off x="4648359" y="2568575"/>
            <a:ext cx="166688" cy="111125"/>
          </a:xfrm>
          <a:prstGeom prst="rect">
            <a:avLst/>
          </a:prstGeom>
          <a:solidFill>
            <a:schemeClr val="accent2"/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93" name="TextBox 1092">
            <a:extLst>
              <a:ext uri="{FF2B5EF4-FFF2-40B4-BE49-F238E27FC236}">
                <a16:creationId xmlns:a16="http://schemas.microsoft.com/office/drawing/2014/main" id="{972F5F63-4CA7-A712-89A0-BCC5C2151893}"/>
              </a:ext>
            </a:extLst>
          </p:cNvPr>
          <p:cNvSpPr txBox="1"/>
          <p:nvPr/>
        </p:nvSpPr>
        <p:spPr>
          <a:xfrm>
            <a:off x="3787775" y="2545354"/>
            <a:ext cx="62230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500" dirty="0"/>
              <a:t>Total Beds</a:t>
            </a:r>
          </a:p>
        </p:txBody>
      </p:sp>
      <p:sp>
        <p:nvSpPr>
          <p:cNvPr id="1094" name="TextBox 1093">
            <a:extLst>
              <a:ext uri="{FF2B5EF4-FFF2-40B4-BE49-F238E27FC236}">
                <a16:creationId xmlns:a16="http://schemas.microsoft.com/office/drawing/2014/main" id="{E7B00FFB-B0F5-AA4F-4572-10E5FE045AD0}"/>
              </a:ext>
            </a:extLst>
          </p:cNvPr>
          <p:cNvSpPr txBox="1"/>
          <p:nvPr/>
        </p:nvSpPr>
        <p:spPr>
          <a:xfrm>
            <a:off x="4728528" y="2546350"/>
            <a:ext cx="75564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500" dirty="0"/>
              <a:t>Beds expansion</a:t>
            </a:r>
          </a:p>
        </p:txBody>
      </p:sp>
      <p:sp>
        <p:nvSpPr>
          <p:cNvPr id="1097" name="TextBox 1096">
            <a:extLst>
              <a:ext uri="{FF2B5EF4-FFF2-40B4-BE49-F238E27FC236}">
                <a16:creationId xmlns:a16="http://schemas.microsoft.com/office/drawing/2014/main" id="{B32CBD99-F7B1-C1F8-1B3E-E06D4CAAB969}"/>
              </a:ext>
            </a:extLst>
          </p:cNvPr>
          <p:cNvSpPr txBox="1"/>
          <p:nvPr/>
        </p:nvSpPr>
        <p:spPr>
          <a:xfrm>
            <a:off x="6219825" y="660400"/>
            <a:ext cx="2790825" cy="1918342"/>
          </a:xfrm>
          <a:prstGeom prst="rect">
            <a:avLst/>
          </a:prstGeom>
          <a:noFill/>
          <a:ln w="12700">
            <a:solidFill>
              <a:schemeClr val="tx1"/>
            </a:solidFill>
            <a:prstDash val="lgDash"/>
          </a:ln>
        </p:spPr>
        <p:txBody>
          <a:bodyPr wrap="square" rtlCol="0">
            <a:noAutofit/>
          </a:bodyPr>
          <a:lstStyle/>
          <a:p>
            <a:pPr marL="228600" lvl="3" indent="-228600">
              <a:buFont typeface="+mj-lt"/>
              <a:buAutoNum type="arabicPeriod"/>
            </a:pPr>
            <a:r>
              <a:rPr lang="en-IN" sz="800" dirty="0"/>
              <a:t>India healthcare industry provides the </a:t>
            </a:r>
            <a:r>
              <a:rPr lang="en-IN" sz="800" b="1" dirty="0"/>
              <a:t>lowest cost offerings</a:t>
            </a:r>
            <a:r>
              <a:rPr lang="en-IN" sz="800" dirty="0"/>
              <a:t> compared to the developed countries.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IN" sz="800" dirty="0"/>
              <a:t>The market is substantially underutilized, with bed density </a:t>
            </a:r>
            <a:r>
              <a:rPr lang="en-IN" sz="800" b="1" dirty="0"/>
              <a:t>being the lowest </a:t>
            </a:r>
            <a:r>
              <a:rPr lang="en-IN" sz="800" dirty="0"/>
              <a:t>(</a:t>
            </a:r>
            <a:r>
              <a:rPr lang="el-GR" sz="800" dirty="0"/>
              <a:t>Δ</a:t>
            </a:r>
            <a:r>
              <a:rPr lang="en-IN" sz="800" dirty="0"/>
              <a:t> = 2.55 times w.r.t Lo) amongst its peers.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IN" sz="800" dirty="0"/>
              <a:t>Out of pocket expenditures </a:t>
            </a:r>
            <a:r>
              <a:rPr lang="en-IN" sz="800" b="1" dirty="0"/>
              <a:t>exceed</a:t>
            </a:r>
            <a:r>
              <a:rPr lang="en-IN" sz="800" dirty="0"/>
              <a:t> current health expenditure by </a:t>
            </a:r>
            <a:r>
              <a:rPr lang="en-IN" sz="800" b="1" dirty="0"/>
              <a:t>212.5%</a:t>
            </a:r>
            <a:r>
              <a:rPr lang="en-IN" sz="800" dirty="0"/>
              <a:t>. The trend is opposite for most of the developed countries, and for developing countries, the OOP is bounded by x2 times of CHE. 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IN" sz="800" dirty="0"/>
              <a:t>IPDs contribute to </a:t>
            </a:r>
            <a:r>
              <a:rPr lang="en-IN" sz="800" b="1" dirty="0"/>
              <a:t>71% </a:t>
            </a:r>
            <a:r>
              <a:rPr lang="en-IN" sz="800" dirty="0"/>
              <a:t>of total industry revenues, whereas the rest are contributed by OPDs.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IN" sz="800" dirty="0"/>
              <a:t>Private hospitals dominate public hospitals in terms of the volume of treatments by </a:t>
            </a:r>
            <a:r>
              <a:rPr lang="en-IN" sz="800" b="1" dirty="0"/>
              <a:t>34%</a:t>
            </a:r>
            <a:r>
              <a:rPr lang="en-IN" sz="800" dirty="0"/>
              <a:t>. </a:t>
            </a:r>
          </a:p>
          <a:p>
            <a:pPr marL="228600" lvl="3" indent="-228600">
              <a:buFont typeface="+mj-lt"/>
              <a:buAutoNum type="arabicPeriod"/>
            </a:pPr>
            <a:r>
              <a:rPr lang="en-IN" sz="800" dirty="0"/>
              <a:t>Industry growth is driven by aggressive </a:t>
            </a:r>
            <a:r>
              <a:rPr lang="en-IN" sz="800" b="1" dirty="0"/>
              <a:t>debt-funded </a:t>
            </a:r>
            <a:r>
              <a:rPr lang="en-IN" sz="800" dirty="0"/>
              <a:t>expansion</a:t>
            </a:r>
          </a:p>
        </p:txBody>
      </p:sp>
      <p:sp>
        <p:nvSpPr>
          <p:cNvPr id="1113" name="Rectangle 1112">
            <a:extLst>
              <a:ext uri="{FF2B5EF4-FFF2-40B4-BE49-F238E27FC236}">
                <a16:creationId xmlns:a16="http://schemas.microsoft.com/office/drawing/2014/main" id="{110AA3D8-94FD-27A3-204F-D8066D9C0C4F}"/>
              </a:ext>
            </a:extLst>
          </p:cNvPr>
          <p:cNvSpPr/>
          <p:nvPr/>
        </p:nvSpPr>
        <p:spPr>
          <a:xfrm>
            <a:off x="191558" y="2817750"/>
            <a:ext cx="2916238" cy="141401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Financial Snapshot of Hospital Industry in India</a:t>
            </a:r>
          </a:p>
        </p:txBody>
      </p:sp>
      <p:sp>
        <p:nvSpPr>
          <p:cNvPr id="1114" name="TextBox 1113">
            <a:extLst>
              <a:ext uri="{FF2B5EF4-FFF2-40B4-BE49-F238E27FC236}">
                <a16:creationId xmlns:a16="http://schemas.microsoft.com/office/drawing/2014/main" id="{FBB05499-81C5-719D-44E9-28B440D223E7}"/>
              </a:ext>
            </a:extLst>
          </p:cNvPr>
          <p:cNvSpPr txBox="1"/>
          <p:nvPr/>
        </p:nvSpPr>
        <p:spPr>
          <a:xfrm>
            <a:off x="2782359" y="3011729"/>
            <a:ext cx="422275" cy="153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Million ₹</a:t>
            </a:r>
          </a:p>
        </p:txBody>
      </p:sp>
      <p:sp>
        <p:nvSpPr>
          <p:cNvPr id="1115" name="TextBox 1114">
            <a:extLst>
              <a:ext uri="{FF2B5EF4-FFF2-40B4-BE49-F238E27FC236}">
                <a16:creationId xmlns:a16="http://schemas.microsoft.com/office/drawing/2014/main" id="{60FC3DDA-9E6B-F167-5710-18B802D6038F}"/>
              </a:ext>
            </a:extLst>
          </p:cNvPr>
          <p:cNvSpPr txBox="1"/>
          <p:nvPr/>
        </p:nvSpPr>
        <p:spPr>
          <a:xfrm>
            <a:off x="141288" y="2991206"/>
            <a:ext cx="346075" cy="15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%</a:t>
            </a:r>
          </a:p>
        </p:txBody>
      </p:sp>
      <p:sp>
        <p:nvSpPr>
          <p:cNvPr id="1116" name="TextBox 1115">
            <a:extLst>
              <a:ext uri="{FF2B5EF4-FFF2-40B4-BE49-F238E27FC236}">
                <a16:creationId xmlns:a16="http://schemas.microsoft.com/office/drawing/2014/main" id="{651A698D-018E-A6B3-54B4-AC8957CFE19C}"/>
              </a:ext>
            </a:extLst>
          </p:cNvPr>
          <p:cNvSpPr txBox="1"/>
          <p:nvPr/>
        </p:nvSpPr>
        <p:spPr>
          <a:xfrm>
            <a:off x="52389" y="705809"/>
            <a:ext cx="179917" cy="153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$</a:t>
            </a:r>
          </a:p>
        </p:txBody>
      </p:sp>
      <p:sp>
        <p:nvSpPr>
          <p:cNvPr id="1117" name="TextBox 1116">
            <a:extLst>
              <a:ext uri="{FF2B5EF4-FFF2-40B4-BE49-F238E27FC236}">
                <a16:creationId xmlns:a16="http://schemas.microsoft.com/office/drawing/2014/main" id="{85A12877-E5AF-695E-BF86-E64AEACB3548}"/>
              </a:ext>
            </a:extLst>
          </p:cNvPr>
          <p:cNvSpPr txBox="1"/>
          <p:nvPr/>
        </p:nvSpPr>
        <p:spPr>
          <a:xfrm>
            <a:off x="52388" y="854175"/>
            <a:ext cx="179917" cy="153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" b="1" dirty="0"/>
              <a:t>$</a:t>
            </a:r>
          </a:p>
        </p:txBody>
      </p:sp>
      <p:cxnSp>
        <p:nvCxnSpPr>
          <p:cNvPr id="1120" name="Straight Connector 1119">
            <a:extLst>
              <a:ext uri="{FF2B5EF4-FFF2-40B4-BE49-F238E27FC236}">
                <a16:creationId xmlns:a16="http://schemas.microsoft.com/office/drawing/2014/main" id="{EF4F6817-1C49-8ACF-A6FF-350E93ECF197}"/>
              </a:ext>
            </a:extLst>
          </p:cNvPr>
          <p:cNvCxnSpPr/>
          <p:nvPr/>
        </p:nvCxnSpPr>
        <p:spPr>
          <a:xfrm>
            <a:off x="-1" y="4912668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1" name="TextBox 1120">
            <a:extLst>
              <a:ext uri="{FF2B5EF4-FFF2-40B4-BE49-F238E27FC236}">
                <a16:creationId xmlns:a16="http://schemas.microsoft.com/office/drawing/2014/main" id="{AE487B77-0812-D495-2763-E3EAAF0D9347}"/>
              </a:ext>
            </a:extLst>
          </p:cNvPr>
          <p:cNvSpPr txBox="1"/>
          <p:nvPr/>
        </p:nvSpPr>
        <p:spPr>
          <a:xfrm>
            <a:off x="-1" y="4912668"/>
            <a:ext cx="89514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rce – CRISIL Research, </a:t>
            </a:r>
            <a:r>
              <a:rPr lang="en-I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jori</a:t>
            </a:r>
            <a:r>
              <a:rPr lang="en-I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inance, Bloomberg, Screener</a:t>
            </a:r>
          </a:p>
        </p:txBody>
      </p:sp>
      <p:sp>
        <p:nvSpPr>
          <p:cNvPr id="1123" name="Rectangle 1122">
            <a:extLst>
              <a:ext uri="{FF2B5EF4-FFF2-40B4-BE49-F238E27FC236}">
                <a16:creationId xmlns:a16="http://schemas.microsoft.com/office/drawing/2014/main" id="{E0AAF3C6-B7D9-344D-733A-B25DFFE49D65}"/>
              </a:ext>
            </a:extLst>
          </p:cNvPr>
          <p:cNvSpPr/>
          <p:nvPr/>
        </p:nvSpPr>
        <p:spPr>
          <a:xfrm>
            <a:off x="6187916" y="483609"/>
            <a:ext cx="2854642" cy="149219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Outlook of Hospital Industry in India</a:t>
            </a:r>
          </a:p>
        </p:txBody>
      </p:sp>
      <p:pic>
        <p:nvPicPr>
          <p:cNvPr id="1124" name="Picture 1123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2744C195-5DC2-9E4E-F9BE-3E97E2F1F71A}"/>
              </a:ext>
            </a:extLst>
          </p:cNvPr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8329783" y="20220"/>
            <a:ext cx="722134" cy="322195"/>
          </a:xfrm>
          <a:prstGeom prst="rect">
            <a:avLst/>
          </a:prstGeom>
        </p:spPr>
      </p:pic>
      <p:sp>
        <p:nvSpPr>
          <p:cNvPr id="1125" name="Rectangle 1124">
            <a:extLst>
              <a:ext uri="{FF2B5EF4-FFF2-40B4-BE49-F238E27FC236}">
                <a16:creationId xmlns:a16="http://schemas.microsoft.com/office/drawing/2014/main" id="{BE7E74AF-ACBE-9ED7-1FB4-FD0A54CA4D39}"/>
              </a:ext>
            </a:extLst>
          </p:cNvPr>
          <p:cNvSpPr/>
          <p:nvPr/>
        </p:nvSpPr>
        <p:spPr>
          <a:xfrm>
            <a:off x="3241675" y="2806703"/>
            <a:ext cx="2854642" cy="149219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Industry Growth Factors</a:t>
            </a:r>
          </a:p>
        </p:txBody>
      </p:sp>
      <p:grpSp>
        <p:nvGrpSpPr>
          <p:cNvPr id="1126" name="Google Shape;3978;p55">
            <a:extLst>
              <a:ext uri="{FF2B5EF4-FFF2-40B4-BE49-F238E27FC236}">
                <a16:creationId xmlns:a16="http://schemas.microsoft.com/office/drawing/2014/main" id="{9F064DD9-AA16-F850-E01B-767A4B4F39CB}"/>
              </a:ext>
            </a:extLst>
          </p:cNvPr>
          <p:cNvGrpSpPr/>
          <p:nvPr/>
        </p:nvGrpSpPr>
        <p:grpSpPr>
          <a:xfrm>
            <a:off x="3352879" y="3110211"/>
            <a:ext cx="2498566" cy="1217254"/>
            <a:chOff x="2253298" y="2428317"/>
            <a:chExt cx="900526" cy="703573"/>
          </a:xfrm>
          <a:solidFill>
            <a:schemeClr val="accent2"/>
          </a:solidFill>
        </p:grpSpPr>
        <p:sp>
          <p:nvSpPr>
            <p:cNvPr id="1127" name="Google Shape;3979;p55">
              <a:extLst>
                <a:ext uri="{FF2B5EF4-FFF2-40B4-BE49-F238E27FC236}">
                  <a16:creationId xmlns:a16="http://schemas.microsoft.com/office/drawing/2014/main" id="{7C82C738-CB17-8AF4-3B91-77D4FB079A27}"/>
                </a:ext>
              </a:extLst>
            </p:cNvPr>
            <p:cNvSpPr/>
            <p:nvPr/>
          </p:nvSpPr>
          <p:spPr>
            <a:xfrm>
              <a:off x="2418065" y="2799334"/>
              <a:ext cx="619167" cy="193359"/>
            </a:xfrm>
            <a:custGeom>
              <a:avLst/>
              <a:gdLst/>
              <a:ahLst/>
              <a:cxnLst/>
              <a:rect l="l" t="t" r="r" b="b"/>
              <a:pathLst>
                <a:path w="116549" h="36397" extrusionOk="0">
                  <a:moveTo>
                    <a:pt x="18199" y="1"/>
                  </a:moveTo>
                  <a:cubicBezTo>
                    <a:pt x="8148" y="1"/>
                    <a:pt x="1" y="8148"/>
                    <a:pt x="1" y="18198"/>
                  </a:cubicBezTo>
                  <a:cubicBezTo>
                    <a:pt x="1" y="28249"/>
                    <a:pt x="8148" y="36396"/>
                    <a:pt x="18199" y="36396"/>
                  </a:cubicBezTo>
                  <a:lnTo>
                    <a:pt x="98350" y="36396"/>
                  </a:lnTo>
                  <a:cubicBezTo>
                    <a:pt x="108401" y="36396"/>
                    <a:pt x="116548" y="28249"/>
                    <a:pt x="116548" y="18198"/>
                  </a:cubicBezTo>
                  <a:cubicBezTo>
                    <a:pt x="116548" y="8148"/>
                    <a:pt x="108401" y="1"/>
                    <a:pt x="9835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128" name="Google Shape;3980;p55">
              <a:extLst>
                <a:ext uri="{FF2B5EF4-FFF2-40B4-BE49-F238E27FC236}">
                  <a16:creationId xmlns:a16="http://schemas.microsoft.com/office/drawing/2014/main" id="{F8F316AD-F778-1A73-843F-BC6B4678D3AE}"/>
                </a:ext>
              </a:extLst>
            </p:cNvPr>
            <p:cNvSpPr/>
            <p:nvPr/>
          </p:nvSpPr>
          <p:spPr>
            <a:xfrm>
              <a:off x="2373234" y="2761962"/>
              <a:ext cx="248482" cy="268106"/>
            </a:xfrm>
            <a:custGeom>
              <a:avLst/>
              <a:gdLst/>
              <a:ahLst/>
              <a:cxnLst/>
              <a:rect l="l" t="t" r="r" b="b"/>
              <a:pathLst>
                <a:path w="46773" h="50467" extrusionOk="0">
                  <a:moveTo>
                    <a:pt x="25232" y="1"/>
                  </a:moveTo>
                  <a:cubicBezTo>
                    <a:pt x="11319" y="1"/>
                    <a:pt x="0" y="11322"/>
                    <a:pt x="0" y="25233"/>
                  </a:cubicBezTo>
                  <a:cubicBezTo>
                    <a:pt x="0" y="39146"/>
                    <a:pt x="11319" y="50466"/>
                    <a:pt x="25232" y="50466"/>
                  </a:cubicBezTo>
                  <a:lnTo>
                    <a:pt x="46773" y="50466"/>
                  </a:lnTo>
                  <a:lnTo>
                    <a:pt x="46773" y="49007"/>
                  </a:lnTo>
                  <a:lnTo>
                    <a:pt x="25232" y="49007"/>
                  </a:lnTo>
                  <a:cubicBezTo>
                    <a:pt x="12124" y="49007"/>
                    <a:pt x="1456" y="38344"/>
                    <a:pt x="1456" y="25233"/>
                  </a:cubicBezTo>
                  <a:cubicBezTo>
                    <a:pt x="1456" y="12123"/>
                    <a:pt x="12124" y="1457"/>
                    <a:pt x="25232" y="1457"/>
                  </a:cubicBezTo>
                  <a:lnTo>
                    <a:pt x="46773" y="1457"/>
                  </a:lnTo>
                  <a:lnTo>
                    <a:pt x="46773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" name="Google Shape;3981;p55">
              <a:extLst>
                <a:ext uri="{FF2B5EF4-FFF2-40B4-BE49-F238E27FC236}">
                  <a16:creationId xmlns:a16="http://schemas.microsoft.com/office/drawing/2014/main" id="{657CFD72-D82D-832F-0512-6D98EAF96B2C}"/>
                </a:ext>
              </a:extLst>
            </p:cNvPr>
            <p:cNvSpPr/>
            <p:nvPr/>
          </p:nvSpPr>
          <p:spPr>
            <a:xfrm>
              <a:off x="2726356" y="3024889"/>
              <a:ext cx="2582" cy="99328"/>
            </a:xfrm>
            <a:custGeom>
              <a:avLst/>
              <a:gdLst/>
              <a:ahLst/>
              <a:cxnLst/>
              <a:rect l="l" t="t" r="r" b="b"/>
              <a:pathLst>
                <a:path w="486" h="18697" extrusionOk="0">
                  <a:moveTo>
                    <a:pt x="243" y="1"/>
                  </a:moveTo>
                  <a:cubicBezTo>
                    <a:pt x="108" y="1"/>
                    <a:pt x="1" y="109"/>
                    <a:pt x="1" y="243"/>
                  </a:cubicBezTo>
                  <a:lnTo>
                    <a:pt x="1" y="18455"/>
                  </a:lnTo>
                  <a:cubicBezTo>
                    <a:pt x="1" y="18588"/>
                    <a:pt x="108" y="18697"/>
                    <a:pt x="243" y="18697"/>
                  </a:cubicBezTo>
                  <a:cubicBezTo>
                    <a:pt x="377" y="18697"/>
                    <a:pt x="485" y="18588"/>
                    <a:pt x="485" y="18455"/>
                  </a:cubicBezTo>
                  <a:lnTo>
                    <a:pt x="485" y="243"/>
                  </a:lnTo>
                  <a:cubicBezTo>
                    <a:pt x="485" y="109"/>
                    <a:pt x="377" y="1"/>
                    <a:pt x="24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" name="Google Shape;3982;p55">
              <a:extLst>
                <a:ext uri="{FF2B5EF4-FFF2-40B4-BE49-F238E27FC236}">
                  <a16:creationId xmlns:a16="http://schemas.microsoft.com/office/drawing/2014/main" id="{D158E440-8CD0-6E66-E5FB-8511EA69A99F}"/>
                </a:ext>
              </a:extLst>
            </p:cNvPr>
            <p:cNvSpPr/>
            <p:nvPr/>
          </p:nvSpPr>
          <p:spPr>
            <a:xfrm>
              <a:off x="2785174" y="3024884"/>
              <a:ext cx="287220" cy="99333"/>
            </a:xfrm>
            <a:custGeom>
              <a:avLst/>
              <a:gdLst/>
              <a:ahLst/>
              <a:cxnLst/>
              <a:rect l="l" t="t" r="r" b="b"/>
              <a:pathLst>
                <a:path w="54065" h="18698" extrusionOk="0">
                  <a:moveTo>
                    <a:pt x="242" y="0"/>
                  </a:moveTo>
                  <a:cubicBezTo>
                    <a:pt x="109" y="0"/>
                    <a:pt x="0" y="109"/>
                    <a:pt x="0" y="242"/>
                  </a:cubicBezTo>
                  <a:lnTo>
                    <a:pt x="0" y="5286"/>
                  </a:lnTo>
                  <a:cubicBezTo>
                    <a:pt x="0" y="8843"/>
                    <a:pt x="2895" y="11736"/>
                    <a:pt x="6451" y="11736"/>
                  </a:cubicBezTo>
                  <a:lnTo>
                    <a:pt x="46862" y="11736"/>
                  </a:lnTo>
                  <a:cubicBezTo>
                    <a:pt x="50567" y="11736"/>
                    <a:pt x="53580" y="14751"/>
                    <a:pt x="53580" y="18456"/>
                  </a:cubicBezTo>
                  <a:cubicBezTo>
                    <a:pt x="53580" y="18589"/>
                    <a:pt x="53689" y="18698"/>
                    <a:pt x="53822" y="18698"/>
                  </a:cubicBezTo>
                  <a:cubicBezTo>
                    <a:pt x="53957" y="18698"/>
                    <a:pt x="54064" y="18589"/>
                    <a:pt x="54063" y="18456"/>
                  </a:cubicBezTo>
                  <a:cubicBezTo>
                    <a:pt x="54063" y="14484"/>
                    <a:pt x="50831" y="11250"/>
                    <a:pt x="46858" y="11250"/>
                  </a:cubicBezTo>
                  <a:lnTo>
                    <a:pt x="6449" y="11250"/>
                  </a:lnTo>
                  <a:cubicBezTo>
                    <a:pt x="3160" y="11250"/>
                    <a:pt x="484" y="8576"/>
                    <a:pt x="484" y="5286"/>
                  </a:cubicBezTo>
                  <a:lnTo>
                    <a:pt x="484" y="242"/>
                  </a:lnTo>
                  <a:cubicBezTo>
                    <a:pt x="484" y="109"/>
                    <a:pt x="376" y="0"/>
                    <a:pt x="242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" name="Google Shape;3983;p55">
              <a:extLst>
                <a:ext uri="{FF2B5EF4-FFF2-40B4-BE49-F238E27FC236}">
                  <a16:creationId xmlns:a16="http://schemas.microsoft.com/office/drawing/2014/main" id="{93B1DEB2-1758-94D9-F262-C7E97BC5C59E}"/>
                </a:ext>
              </a:extLst>
            </p:cNvPr>
            <p:cNvSpPr/>
            <p:nvPr/>
          </p:nvSpPr>
          <p:spPr>
            <a:xfrm>
              <a:off x="2382903" y="3024884"/>
              <a:ext cx="287215" cy="99333"/>
            </a:xfrm>
            <a:custGeom>
              <a:avLst/>
              <a:gdLst/>
              <a:ahLst/>
              <a:cxnLst/>
              <a:rect l="l" t="t" r="r" b="b"/>
              <a:pathLst>
                <a:path w="54064" h="18698" extrusionOk="0">
                  <a:moveTo>
                    <a:pt x="53821" y="0"/>
                  </a:moveTo>
                  <a:cubicBezTo>
                    <a:pt x="53686" y="0"/>
                    <a:pt x="53579" y="109"/>
                    <a:pt x="53579" y="242"/>
                  </a:cubicBezTo>
                  <a:lnTo>
                    <a:pt x="53579" y="5286"/>
                  </a:lnTo>
                  <a:cubicBezTo>
                    <a:pt x="53579" y="8576"/>
                    <a:pt x="50903" y="11250"/>
                    <a:pt x="47614" y="11250"/>
                  </a:cubicBezTo>
                  <a:lnTo>
                    <a:pt x="7205" y="11250"/>
                  </a:lnTo>
                  <a:cubicBezTo>
                    <a:pt x="3232" y="11250"/>
                    <a:pt x="0" y="14484"/>
                    <a:pt x="0" y="18456"/>
                  </a:cubicBezTo>
                  <a:cubicBezTo>
                    <a:pt x="0" y="18589"/>
                    <a:pt x="109" y="18698"/>
                    <a:pt x="242" y="18698"/>
                  </a:cubicBezTo>
                  <a:cubicBezTo>
                    <a:pt x="376" y="18698"/>
                    <a:pt x="485" y="18589"/>
                    <a:pt x="485" y="18456"/>
                  </a:cubicBezTo>
                  <a:cubicBezTo>
                    <a:pt x="485" y="14751"/>
                    <a:pt x="3499" y="11736"/>
                    <a:pt x="7202" y="11736"/>
                  </a:cubicBezTo>
                  <a:lnTo>
                    <a:pt x="47612" y="11736"/>
                  </a:lnTo>
                  <a:cubicBezTo>
                    <a:pt x="51169" y="11736"/>
                    <a:pt x="54063" y="8843"/>
                    <a:pt x="54063" y="5286"/>
                  </a:cubicBezTo>
                  <a:lnTo>
                    <a:pt x="54063" y="242"/>
                  </a:lnTo>
                  <a:cubicBezTo>
                    <a:pt x="54063" y="109"/>
                    <a:pt x="53955" y="0"/>
                    <a:pt x="53821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" name="Google Shape;3987;p55">
              <a:extLst>
                <a:ext uri="{FF2B5EF4-FFF2-40B4-BE49-F238E27FC236}">
                  <a16:creationId xmlns:a16="http://schemas.microsoft.com/office/drawing/2014/main" id="{C5A8C0E0-E8FC-BDBF-43DE-D6EC0057E1EF}"/>
                </a:ext>
              </a:extLst>
            </p:cNvPr>
            <p:cNvSpPr/>
            <p:nvPr/>
          </p:nvSpPr>
          <p:spPr>
            <a:xfrm>
              <a:off x="2718685" y="3113966"/>
              <a:ext cx="17919" cy="17924"/>
            </a:xfrm>
            <a:custGeom>
              <a:avLst/>
              <a:gdLst/>
              <a:ahLst/>
              <a:cxnLst/>
              <a:rect l="l" t="t" r="r" b="b"/>
              <a:pathLst>
                <a:path w="3373" h="3374" extrusionOk="0">
                  <a:moveTo>
                    <a:pt x="1687" y="0"/>
                  </a:moveTo>
                  <a:cubicBezTo>
                    <a:pt x="755" y="0"/>
                    <a:pt x="1" y="755"/>
                    <a:pt x="1" y="1687"/>
                  </a:cubicBezTo>
                  <a:cubicBezTo>
                    <a:pt x="1" y="2619"/>
                    <a:pt x="755" y="3373"/>
                    <a:pt x="1687" y="3373"/>
                  </a:cubicBezTo>
                  <a:cubicBezTo>
                    <a:pt x="2618" y="3373"/>
                    <a:pt x="3372" y="2619"/>
                    <a:pt x="3372" y="1687"/>
                  </a:cubicBezTo>
                  <a:cubicBezTo>
                    <a:pt x="3372" y="755"/>
                    <a:pt x="2618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" name="Google Shape;3988;p55">
              <a:extLst>
                <a:ext uri="{FF2B5EF4-FFF2-40B4-BE49-F238E27FC236}">
                  <a16:creationId xmlns:a16="http://schemas.microsoft.com/office/drawing/2014/main" id="{302C54B9-916A-9C23-DD68-A81A339864C8}"/>
                </a:ext>
              </a:extLst>
            </p:cNvPr>
            <p:cNvSpPr/>
            <p:nvPr/>
          </p:nvSpPr>
          <p:spPr>
            <a:xfrm>
              <a:off x="3062128" y="3113966"/>
              <a:ext cx="17924" cy="17924"/>
            </a:xfrm>
            <a:custGeom>
              <a:avLst/>
              <a:gdLst/>
              <a:ahLst/>
              <a:cxnLst/>
              <a:rect l="l" t="t" r="r" b="b"/>
              <a:pathLst>
                <a:path w="3374" h="3374" extrusionOk="0">
                  <a:moveTo>
                    <a:pt x="1687" y="0"/>
                  </a:moveTo>
                  <a:cubicBezTo>
                    <a:pt x="755" y="0"/>
                    <a:pt x="0" y="755"/>
                    <a:pt x="0" y="1687"/>
                  </a:cubicBezTo>
                  <a:cubicBezTo>
                    <a:pt x="0" y="2619"/>
                    <a:pt x="755" y="3373"/>
                    <a:pt x="1687" y="3373"/>
                  </a:cubicBezTo>
                  <a:cubicBezTo>
                    <a:pt x="2619" y="3373"/>
                    <a:pt x="3373" y="2619"/>
                    <a:pt x="3373" y="1687"/>
                  </a:cubicBezTo>
                  <a:cubicBezTo>
                    <a:pt x="3373" y="755"/>
                    <a:pt x="2619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" name="Google Shape;3989;p55">
              <a:extLst>
                <a:ext uri="{FF2B5EF4-FFF2-40B4-BE49-F238E27FC236}">
                  <a16:creationId xmlns:a16="http://schemas.microsoft.com/office/drawing/2014/main" id="{8E30579F-B7A0-32FB-CF50-BDEE83B74378}"/>
                </a:ext>
              </a:extLst>
            </p:cNvPr>
            <p:cNvSpPr/>
            <p:nvPr/>
          </p:nvSpPr>
          <p:spPr>
            <a:xfrm>
              <a:off x="2375226" y="3113966"/>
              <a:ext cx="17924" cy="17924"/>
            </a:xfrm>
            <a:custGeom>
              <a:avLst/>
              <a:gdLst/>
              <a:ahLst/>
              <a:cxnLst/>
              <a:rect l="l" t="t" r="r" b="b"/>
              <a:pathLst>
                <a:path w="3374" h="3374" extrusionOk="0">
                  <a:moveTo>
                    <a:pt x="1687" y="0"/>
                  </a:moveTo>
                  <a:cubicBezTo>
                    <a:pt x="755" y="0"/>
                    <a:pt x="1" y="755"/>
                    <a:pt x="1" y="1687"/>
                  </a:cubicBezTo>
                  <a:cubicBezTo>
                    <a:pt x="1" y="2619"/>
                    <a:pt x="755" y="3373"/>
                    <a:pt x="1687" y="3373"/>
                  </a:cubicBezTo>
                  <a:cubicBezTo>
                    <a:pt x="2619" y="3373"/>
                    <a:pt x="3374" y="2619"/>
                    <a:pt x="3374" y="1687"/>
                  </a:cubicBezTo>
                  <a:cubicBezTo>
                    <a:pt x="3374" y="755"/>
                    <a:pt x="2619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" name="Google Shape;3990;p55">
              <a:extLst>
                <a:ext uri="{FF2B5EF4-FFF2-40B4-BE49-F238E27FC236}">
                  <a16:creationId xmlns:a16="http://schemas.microsoft.com/office/drawing/2014/main" id="{C4D27CC9-C27F-4C12-A51B-6C35C39B7E2D}"/>
                </a:ext>
              </a:extLst>
            </p:cNvPr>
            <p:cNvSpPr/>
            <p:nvPr/>
          </p:nvSpPr>
          <p:spPr>
            <a:xfrm>
              <a:off x="2718685" y="3017224"/>
              <a:ext cx="17919" cy="17919"/>
            </a:xfrm>
            <a:custGeom>
              <a:avLst/>
              <a:gdLst/>
              <a:ahLst/>
              <a:cxnLst/>
              <a:rect l="l" t="t" r="r" b="b"/>
              <a:pathLst>
                <a:path w="3373" h="3373" extrusionOk="0">
                  <a:moveTo>
                    <a:pt x="1687" y="1"/>
                  </a:moveTo>
                  <a:cubicBezTo>
                    <a:pt x="755" y="1"/>
                    <a:pt x="1" y="754"/>
                    <a:pt x="1" y="1686"/>
                  </a:cubicBezTo>
                  <a:cubicBezTo>
                    <a:pt x="1" y="2618"/>
                    <a:pt x="755" y="3372"/>
                    <a:pt x="1687" y="3372"/>
                  </a:cubicBezTo>
                  <a:cubicBezTo>
                    <a:pt x="2618" y="3372"/>
                    <a:pt x="3372" y="2618"/>
                    <a:pt x="3372" y="1686"/>
                  </a:cubicBezTo>
                  <a:cubicBezTo>
                    <a:pt x="3372" y="754"/>
                    <a:pt x="2618" y="1"/>
                    <a:pt x="16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" name="Google Shape;3991;p55">
              <a:extLst>
                <a:ext uri="{FF2B5EF4-FFF2-40B4-BE49-F238E27FC236}">
                  <a16:creationId xmlns:a16="http://schemas.microsoft.com/office/drawing/2014/main" id="{7AEFA411-D923-0A1A-318C-A012B45A81F1}"/>
                </a:ext>
              </a:extLst>
            </p:cNvPr>
            <p:cNvSpPr/>
            <p:nvPr/>
          </p:nvSpPr>
          <p:spPr>
            <a:xfrm>
              <a:off x="2777509" y="3017224"/>
              <a:ext cx="17914" cy="17919"/>
            </a:xfrm>
            <a:custGeom>
              <a:avLst/>
              <a:gdLst/>
              <a:ahLst/>
              <a:cxnLst/>
              <a:rect l="l" t="t" r="r" b="b"/>
              <a:pathLst>
                <a:path w="3372" h="3373" extrusionOk="0">
                  <a:moveTo>
                    <a:pt x="1685" y="1"/>
                  </a:moveTo>
                  <a:cubicBezTo>
                    <a:pt x="753" y="1"/>
                    <a:pt x="0" y="754"/>
                    <a:pt x="0" y="1686"/>
                  </a:cubicBezTo>
                  <a:cubicBezTo>
                    <a:pt x="0" y="2618"/>
                    <a:pt x="753" y="3372"/>
                    <a:pt x="1685" y="3372"/>
                  </a:cubicBezTo>
                  <a:cubicBezTo>
                    <a:pt x="2617" y="3372"/>
                    <a:pt x="3372" y="2618"/>
                    <a:pt x="3372" y="1686"/>
                  </a:cubicBezTo>
                  <a:cubicBezTo>
                    <a:pt x="3372" y="754"/>
                    <a:pt x="2617" y="1"/>
                    <a:pt x="16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" name="Google Shape;3992;p55">
              <a:extLst>
                <a:ext uri="{FF2B5EF4-FFF2-40B4-BE49-F238E27FC236}">
                  <a16:creationId xmlns:a16="http://schemas.microsoft.com/office/drawing/2014/main" id="{88BBB4FC-5071-6D95-E73F-DC124D8CB338}"/>
                </a:ext>
              </a:extLst>
            </p:cNvPr>
            <p:cNvSpPr/>
            <p:nvPr/>
          </p:nvSpPr>
          <p:spPr>
            <a:xfrm>
              <a:off x="2659856" y="3017224"/>
              <a:ext cx="17914" cy="17919"/>
            </a:xfrm>
            <a:custGeom>
              <a:avLst/>
              <a:gdLst/>
              <a:ahLst/>
              <a:cxnLst/>
              <a:rect l="l" t="t" r="r" b="b"/>
              <a:pathLst>
                <a:path w="3372" h="3373" extrusionOk="0">
                  <a:moveTo>
                    <a:pt x="1687" y="1"/>
                  </a:moveTo>
                  <a:cubicBezTo>
                    <a:pt x="755" y="1"/>
                    <a:pt x="1" y="754"/>
                    <a:pt x="1" y="1686"/>
                  </a:cubicBezTo>
                  <a:cubicBezTo>
                    <a:pt x="1" y="2618"/>
                    <a:pt x="755" y="3372"/>
                    <a:pt x="1687" y="3372"/>
                  </a:cubicBezTo>
                  <a:cubicBezTo>
                    <a:pt x="2619" y="3372"/>
                    <a:pt x="3372" y="2618"/>
                    <a:pt x="3372" y="1686"/>
                  </a:cubicBezTo>
                  <a:cubicBezTo>
                    <a:pt x="3372" y="754"/>
                    <a:pt x="2619" y="1"/>
                    <a:pt x="16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1" name="Google Shape;3993;p55">
              <a:extLst>
                <a:ext uri="{FF2B5EF4-FFF2-40B4-BE49-F238E27FC236}">
                  <a16:creationId xmlns:a16="http://schemas.microsoft.com/office/drawing/2014/main" id="{1DA54511-2AF1-4557-652B-F8EE3D1E5F19}"/>
                </a:ext>
              </a:extLst>
            </p:cNvPr>
            <p:cNvSpPr/>
            <p:nvPr/>
          </p:nvSpPr>
          <p:spPr>
            <a:xfrm>
              <a:off x="2726356" y="2667807"/>
              <a:ext cx="2582" cy="99322"/>
            </a:xfrm>
            <a:custGeom>
              <a:avLst/>
              <a:gdLst/>
              <a:ahLst/>
              <a:cxnLst/>
              <a:rect l="l" t="t" r="r" b="b"/>
              <a:pathLst>
                <a:path w="486" h="18696" extrusionOk="0">
                  <a:moveTo>
                    <a:pt x="243" y="0"/>
                  </a:moveTo>
                  <a:cubicBezTo>
                    <a:pt x="108" y="0"/>
                    <a:pt x="1" y="109"/>
                    <a:pt x="1" y="243"/>
                  </a:cubicBezTo>
                  <a:lnTo>
                    <a:pt x="1" y="18453"/>
                  </a:lnTo>
                  <a:cubicBezTo>
                    <a:pt x="1" y="18588"/>
                    <a:pt x="108" y="18695"/>
                    <a:pt x="243" y="18695"/>
                  </a:cubicBezTo>
                  <a:cubicBezTo>
                    <a:pt x="377" y="18695"/>
                    <a:pt x="485" y="18588"/>
                    <a:pt x="485" y="18453"/>
                  </a:cubicBezTo>
                  <a:lnTo>
                    <a:pt x="485" y="243"/>
                  </a:lnTo>
                  <a:cubicBezTo>
                    <a:pt x="485" y="109"/>
                    <a:pt x="377" y="0"/>
                    <a:pt x="243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2" name="Google Shape;3994;p55">
              <a:extLst>
                <a:ext uri="{FF2B5EF4-FFF2-40B4-BE49-F238E27FC236}">
                  <a16:creationId xmlns:a16="http://schemas.microsoft.com/office/drawing/2014/main" id="{D0829BDA-B634-EBC6-E76B-9C0D1ED0B97B}"/>
                </a:ext>
              </a:extLst>
            </p:cNvPr>
            <p:cNvSpPr/>
            <p:nvPr/>
          </p:nvSpPr>
          <p:spPr>
            <a:xfrm>
              <a:off x="2785174" y="2667796"/>
              <a:ext cx="287210" cy="99333"/>
            </a:xfrm>
            <a:custGeom>
              <a:avLst/>
              <a:gdLst/>
              <a:ahLst/>
              <a:cxnLst/>
              <a:rect l="l" t="t" r="r" b="b"/>
              <a:pathLst>
                <a:path w="54063" h="18698" extrusionOk="0">
                  <a:moveTo>
                    <a:pt x="53821" y="1"/>
                  </a:moveTo>
                  <a:cubicBezTo>
                    <a:pt x="53687" y="1"/>
                    <a:pt x="53579" y="108"/>
                    <a:pt x="53579" y="243"/>
                  </a:cubicBezTo>
                  <a:cubicBezTo>
                    <a:pt x="53579" y="3946"/>
                    <a:pt x="50564" y="6961"/>
                    <a:pt x="46861" y="6961"/>
                  </a:cubicBezTo>
                  <a:lnTo>
                    <a:pt x="6451" y="6961"/>
                  </a:lnTo>
                  <a:cubicBezTo>
                    <a:pt x="2895" y="6961"/>
                    <a:pt x="0" y="9857"/>
                    <a:pt x="0" y="13412"/>
                  </a:cubicBezTo>
                  <a:lnTo>
                    <a:pt x="0" y="18455"/>
                  </a:lnTo>
                  <a:cubicBezTo>
                    <a:pt x="0" y="18590"/>
                    <a:pt x="109" y="18697"/>
                    <a:pt x="242" y="18697"/>
                  </a:cubicBezTo>
                  <a:cubicBezTo>
                    <a:pt x="379" y="18697"/>
                    <a:pt x="487" y="18590"/>
                    <a:pt x="486" y="18455"/>
                  </a:cubicBezTo>
                  <a:lnTo>
                    <a:pt x="486" y="13412"/>
                  </a:lnTo>
                  <a:cubicBezTo>
                    <a:pt x="486" y="10122"/>
                    <a:pt x="3162" y="7447"/>
                    <a:pt x="6451" y="7447"/>
                  </a:cubicBezTo>
                  <a:lnTo>
                    <a:pt x="46858" y="7447"/>
                  </a:lnTo>
                  <a:cubicBezTo>
                    <a:pt x="50831" y="7447"/>
                    <a:pt x="54063" y="4215"/>
                    <a:pt x="54063" y="243"/>
                  </a:cubicBezTo>
                  <a:cubicBezTo>
                    <a:pt x="54063" y="108"/>
                    <a:pt x="53954" y="1"/>
                    <a:pt x="53821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3" name="Google Shape;3995;p55">
              <a:extLst>
                <a:ext uri="{FF2B5EF4-FFF2-40B4-BE49-F238E27FC236}">
                  <a16:creationId xmlns:a16="http://schemas.microsoft.com/office/drawing/2014/main" id="{9F84DFA4-C655-E831-2336-42AC039F21A1}"/>
                </a:ext>
              </a:extLst>
            </p:cNvPr>
            <p:cNvSpPr/>
            <p:nvPr/>
          </p:nvSpPr>
          <p:spPr>
            <a:xfrm>
              <a:off x="2382892" y="2667796"/>
              <a:ext cx="287226" cy="99333"/>
            </a:xfrm>
            <a:custGeom>
              <a:avLst/>
              <a:gdLst/>
              <a:ahLst/>
              <a:cxnLst/>
              <a:rect l="l" t="t" r="r" b="b"/>
              <a:pathLst>
                <a:path w="54066" h="18698" extrusionOk="0">
                  <a:moveTo>
                    <a:pt x="243" y="1"/>
                  </a:moveTo>
                  <a:cubicBezTo>
                    <a:pt x="108" y="1"/>
                    <a:pt x="1" y="108"/>
                    <a:pt x="1" y="243"/>
                  </a:cubicBezTo>
                  <a:cubicBezTo>
                    <a:pt x="1" y="4216"/>
                    <a:pt x="3233" y="7447"/>
                    <a:pt x="7204" y="7447"/>
                  </a:cubicBezTo>
                  <a:lnTo>
                    <a:pt x="47616" y="7447"/>
                  </a:lnTo>
                  <a:cubicBezTo>
                    <a:pt x="50905" y="7447"/>
                    <a:pt x="53581" y="10122"/>
                    <a:pt x="53581" y="13412"/>
                  </a:cubicBezTo>
                  <a:lnTo>
                    <a:pt x="53581" y="18455"/>
                  </a:lnTo>
                  <a:cubicBezTo>
                    <a:pt x="53581" y="18590"/>
                    <a:pt x="53688" y="18697"/>
                    <a:pt x="53823" y="18697"/>
                  </a:cubicBezTo>
                  <a:cubicBezTo>
                    <a:pt x="53957" y="18697"/>
                    <a:pt x="54065" y="18590"/>
                    <a:pt x="54062" y="18455"/>
                  </a:cubicBezTo>
                  <a:lnTo>
                    <a:pt x="54062" y="13412"/>
                  </a:lnTo>
                  <a:cubicBezTo>
                    <a:pt x="54062" y="9854"/>
                    <a:pt x="51169" y="6961"/>
                    <a:pt x="47611" y="6961"/>
                  </a:cubicBezTo>
                  <a:lnTo>
                    <a:pt x="7203" y="6961"/>
                  </a:lnTo>
                  <a:cubicBezTo>
                    <a:pt x="3498" y="6961"/>
                    <a:pt x="485" y="3946"/>
                    <a:pt x="485" y="243"/>
                  </a:cubicBezTo>
                  <a:cubicBezTo>
                    <a:pt x="485" y="108"/>
                    <a:pt x="377" y="1"/>
                    <a:pt x="24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4" name="Google Shape;3996;p55">
              <a:extLst>
                <a:ext uri="{FF2B5EF4-FFF2-40B4-BE49-F238E27FC236}">
                  <a16:creationId xmlns:a16="http://schemas.microsoft.com/office/drawing/2014/main" id="{05F21FC9-496D-6B0C-96FA-69796642EC24}"/>
                </a:ext>
              </a:extLst>
            </p:cNvPr>
            <p:cNvSpPr/>
            <p:nvPr/>
          </p:nvSpPr>
          <p:spPr>
            <a:xfrm>
              <a:off x="2596756" y="2428317"/>
              <a:ext cx="261784" cy="212447"/>
            </a:xfrm>
            <a:custGeom>
              <a:avLst/>
              <a:gdLst/>
              <a:ahLst/>
              <a:cxnLst/>
              <a:rect l="l" t="t" r="r" b="b"/>
              <a:pathLst>
                <a:path w="49277" h="39990" extrusionOk="0">
                  <a:moveTo>
                    <a:pt x="7996" y="1"/>
                  </a:moveTo>
                  <a:cubicBezTo>
                    <a:pt x="3580" y="1"/>
                    <a:pt x="0" y="3580"/>
                    <a:pt x="0" y="7995"/>
                  </a:cubicBezTo>
                  <a:lnTo>
                    <a:pt x="0" y="31993"/>
                  </a:lnTo>
                  <a:cubicBezTo>
                    <a:pt x="0" y="36409"/>
                    <a:pt x="3580" y="39989"/>
                    <a:pt x="7996" y="39989"/>
                  </a:cubicBezTo>
                  <a:lnTo>
                    <a:pt x="41280" y="39989"/>
                  </a:lnTo>
                  <a:cubicBezTo>
                    <a:pt x="45697" y="39989"/>
                    <a:pt x="49277" y="36409"/>
                    <a:pt x="49277" y="31993"/>
                  </a:cubicBezTo>
                  <a:lnTo>
                    <a:pt x="49277" y="7995"/>
                  </a:lnTo>
                  <a:cubicBezTo>
                    <a:pt x="49277" y="3580"/>
                    <a:pt x="45697" y="1"/>
                    <a:pt x="412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146" name="Google Shape;3998;p55">
              <a:extLst>
                <a:ext uri="{FF2B5EF4-FFF2-40B4-BE49-F238E27FC236}">
                  <a16:creationId xmlns:a16="http://schemas.microsoft.com/office/drawing/2014/main" id="{62F7A91D-720F-AF6F-9C03-0D928F990A1B}"/>
                </a:ext>
              </a:extLst>
            </p:cNvPr>
            <p:cNvSpPr/>
            <p:nvPr/>
          </p:nvSpPr>
          <p:spPr>
            <a:xfrm>
              <a:off x="2253298" y="2428317"/>
              <a:ext cx="261795" cy="212447"/>
            </a:xfrm>
            <a:custGeom>
              <a:avLst/>
              <a:gdLst/>
              <a:ahLst/>
              <a:cxnLst/>
              <a:rect l="l" t="t" r="r" b="b"/>
              <a:pathLst>
                <a:path w="49279" h="39990" extrusionOk="0">
                  <a:moveTo>
                    <a:pt x="7997" y="1"/>
                  </a:moveTo>
                  <a:cubicBezTo>
                    <a:pt x="3580" y="1"/>
                    <a:pt x="0" y="3580"/>
                    <a:pt x="0" y="7995"/>
                  </a:cubicBezTo>
                  <a:lnTo>
                    <a:pt x="0" y="31993"/>
                  </a:lnTo>
                  <a:cubicBezTo>
                    <a:pt x="0" y="36409"/>
                    <a:pt x="3580" y="39989"/>
                    <a:pt x="7997" y="39989"/>
                  </a:cubicBezTo>
                  <a:lnTo>
                    <a:pt x="41282" y="39989"/>
                  </a:lnTo>
                  <a:cubicBezTo>
                    <a:pt x="45697" y="39989"/>
                    <a:pt x="49277" y="36409"/>
                    <a:pt x="49277" y="31993"/>
                  </a:cubicBezTo>
                  <a:lnTo>
                    <a:pt x="49277" y="7995"/>
                  </a:lnTo>
                  <a:cubicBezTo>
                    <a:pt x="49278" y="3580"/>
                    <a:pt x="45697" y="1"/>
                    <a:pt x="412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147" name="Google Shape;3999;p55">
              <a:extLst>
                <a:ext uri="{FF2B5EF4-FFF2-40B4-BE49-F238E27FC236}">
                  <a16:creationId xmlns:a16="http://schemas.microsoft.com/office/drawing/2014/main" id="{12996519-97D1-7D7B-49EF-A78B08A8B17B}"/>
                </a:ext>
              </a:extLst>
            </p:cNvPr>
            <p:cNvSpPr/>
            <p:nvPr/>
          </p:nvSpPr>
          <p:spPr>
            <a:xfrm>
              <a:off x="2718685" y="2660136"/>
              <a:ext cx="17919" cy="17919"/>
            </a:xfrm>
            <a:custGeom>
              <a:avLst/>
              <a:gdLst/>
              <a:ahLst/>
              <a:cxnLst/>
              <a:rect l="l" t="t" r="r" b="b"/>
              <a:pathLst>
                <a:path w="3373" h="3373" extrusionOk="0">
                  <a:moveTo>
                    <a:pt x="1687" y="0"/>
                  </a:moveTo>
                  <a:cubicBezTo>
                    <a:pt x="755" y="0"/>
                    <a:pt x="1" y="754"/>
                    <a:pt x="1" y="1687"/>
                  </a:cubicBezTo>
                  <a:cubicBezTo>
                    <a:pt x="1" y="2619"/>
                    <a:pt x="755" y="3373"/>
                    <a:pt x="1687" y="3373"/>
                  </a:cubicBezTo>
                  <a:cubicBezTo>
                    <a:pt x="2618" y="3373"/>
                    <a:pt x="3372" y="2617"/>
                    <a:pt x="3372" y="1687"/>
                  </a:cubicBezTo>
                  <a:cubicBezTo>
                    <a:pt x="3372" y="754"/>
                    <a:pt x="2618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8" name="Google Shape;4000;p55">
              <a:extLst>
                <a:ext uri="{FF2B5EF4-FFF2-40B4-BE49-F238E27FC236}">
                  <a16:creationId xmlns:a16="http://schemas.microsoft.com/office/drawing/2014/main" id="{73C82310-52F8-B932-1165-C77F539C3C56}"/>
                </a:ext>
              </a:extLst>
            </p:cNvPr>
            <p:cNvSpPr/>
            <p:nvPr/>
          </p:nvSpPr>
          <p:spPr>
            <a:xfrm>
              <a:off x="3062128" y="2660136"/>
              <a:ext cx="17924" cy="17919"/>
            </a:xfrm>
            <a:custGeom>
              <a:avLst/>
              <a:gdLst/>
              <a:ahLst/>
              <a:cxnLst/>
              <a:rect l="l" t="t" r="r" b="b"/>
              <a:pathLst>
                <a:path w="3374" h="3373" extrusionOk="0">
                  <a:moveTo>
                    <a:pt x="1687" y="0"/>
                  </a:moveTo>
                  <a:cubicBezTo>
                    <a:pt x="755" y="0"/>
                    <a:pt x="0" y="754"/>
                    <a:pt x="0" y="1687"/>
                  </a:cubicBezTo>
                  <a:cubicBezTo>
                    <a:pt x="0" y="2619"/>
                    <a:pt x="755" y="3373"/>
                    <a:pt x="1687" y="3373"/>
                  </a:cubicBezTo>
                  <a:cubicBezTo>
                    <a:pt x="2619" y="3370"/>
                    <a:pt x="3373" y="2617"/>
                    <a:pt x="3373" y="1687"/>
                  </a:cubicBezTo>
                  <a:cubicBezTo>
                    <a:pt x="3373" y="754"/>
                    <a:pt x="2619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9" name="Google Shape;4001;p55">
              <a:extLst>
                <a:ext uri="{FF2B5EF4-FFF2-40B4-BE49-F238E27FC236}">
                  <a16:creationId xmlns:a16="http://schemas.microsoft.com/office/drawing/2014/main" id="{CBBD705B-ADE9-DA17-F3CC-DCF448A73694}"/>
                </a:ext>
              </a:extLst>
            </p:cNvPr>
            <p:cNvSpPr/>
            <p:nvPr/>
          </p:nvSpPr>
          <p:spPr>
            <a:xfrm>
              <a:off x="2375226" y="2660136"/>
              <a:ext cx="17924" cy="17919"/>
            </a:xfrm>
            <a:custGeom>
              <a:avLst/>
              <a:gdLst/>
              <a:ahLst/>
              <a:cxnLst/>
              <a:rect l="l" t="t" r="r" b="b"/>
              <a:pathLst>
                <a:path w="3374" h="3373" extrusionOk="0">
                  <a:moveTo>
                    <a:pt x="1687" y="0"/>
                  </a:moveTo>
                  <a:cubicBezTo>
                    <a:pt x="755" y="0"/>
                    <a:pt x="1" y="754"/>
                    <a:pt x="1" y="1687"/>
                  </a:cubicBezTo>
                  <a:cubicBezTo>
                    <a:pt x="1" y="2619"/>
                    <a:pt x="755" y="3373"/>
                    <a:pt x="1687" y="3373"/>
                  </a:cubicBezTo>
                  <a:cubicBezTo>
                    <a:pt x="2619" y="3370"/>
                    <a:pt x="3374" y="2617"/>
                    <a:pt x="3374" y="1687"/>
                  </a:cubicBezTo>
                  <a:cubicBezTo>
                    <a:pt x="3374" y="754"/>
                    <a:pt x="2619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0" name="Google Shape;4002;p55">
              <a:extLst>
                <a:ext uri="{FF2B5EF4-FFF2-40B4-BE49-F238E27FC236}">
                  <a16:creationId xmlns:a16="http://schemas.microsoft.com/office/drawing/2014/main" id="{268FA6F6-C7D3-ADAB-38E6-EE7BD9A69854}"/>
                </a:ext>
              </a:extLst>
            </p:cNvPr>
            <p:cNvSpPr/>
            <p:nvPr/>
          </p:nvSpPr>
          <p:spPr>
            <a:xfrm>
              <a:off x="2718685" y="2756878"/>
              <a:ext cx="17919" cy="17919"/>
            </a:xfrm>
            <a:custGeom>
              <a:avLst/>
              <a:gdLst/>
              <a:ahLst/>
              <a:cxnLst/>
              <a:rect l="l" t="t" r="r" b="b"/>
              <a:pathLst>
                <a:path w="3373" h="3373" extrusionOk="0">
                  <a:moveTo>
                    <a:pt x="1687" y="1"/>
                  </a:moveTo>
                  <a:cubicBezTo>
                    <a:pt x="755" y="1"/>
                    <a:pt x="1" y="754"/>
                    <a:pt x="1" y="1686"/>
                  </a:cubicBezTo>
                  <a:cubicBezTo>
                    <a:pt x="1" y="2618"/>
                    <a:pt x="755" y="3372"/>
                    <a:pt x="1687" y="3372"/>
                  </a:cubicBezTo>
                  <a:cubicBezTo>
                    <a:pt x="2618" y="3372"/>
                    <a:pt x="3372" y="2616"/>
                    <a:pt x="3372" y="1686"/>
                  </a:cubicBezTo>
                  <a:cubicBezTo>
                    <a:pt x="3372" y="754"/>
                    <a:pt x="2618" y="1"/>
                    <a:pt x="16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1" name="Google Shape;4003;p55">
              <a:extLst>
                <a:ext uri="{FF2B5EF4-FFF2-40B4-BE49-F238E27FC236}">
                  <a16:creationId xmlns:a16="http://schemas.microsoft.com/office/drawing/2014/main" id="{8F7DFE4D-64C5-4C81-C868-B87ABB8A1B3D}"/>
                </a:ext>
              </a:extLst>
            </p:cNvPr>
            <p:cNvSpPr/>
            <p:nvPr/>
          </p:nvSpPr>
          <p:spPr>
            <a:xfrm>
              <a:off x="2777509" y="2756878"/>
              <a:ext cx="17914" cy="17919"/>
            </a:xfrm>
            <a:custGeom>
              <a:avLst/>
              <a:gdLst/>
              <a:ahLst/>
              <a:cxnLst/>
              <a:rect l="l" t="t" r="r" b="b"/>
              <a:pathLst>
                <a:path w="3372" h="3373" extrusionOk="0">
                  <a:moveTo>
                    <a:pt x="1685" y="1"/>
                  </a:moveTo>
                  <a:cubicBezTo>
                    <a:pt x="753" y="1"/>
                    <a:pt x="0" y="754"/>
                    <a:pt x="0" y="1686"/>
                  </a:cubicBezTo>
                  <a:cubicBezTo>
                    <a:pt x="0" y="2618"/>
                    <a:pt x="753" y="3372"/>
                    <a:pt x="1685" y="3372"/>
                  </a:cubicBezTo>
                  <a:cubicBezTo>
                    <a:pt x="2617" y="3372"/>
                    <a:pt x="3372" y="2616"/>
                    <a:pt x="3372" y="1686"/>
                  </a:cubicBezTo>
                  <a:cubicBezTo>
                    <a:pt x="3372" y="754"/>
                    <a:pt x="2617" y="1"/>
                    <a:pt x="16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2" name="Google Shape;4004;p55">
              <a:extLst>
                <a:ext uri="{FF2B5EF4-FFF2-40B4-BE49-F238E27FC236}">
                  <a16:creationId xmlns:a16="http://schemas.microsoft.com/office/drawing/2014/main" id="{71FD902D-F9E6-7F53-855F-A7C3A4CB4226}"/>
                </a:ext>
              </a:extLst>
            </p:cNvPr>
            <p:cNvSpPr/>
            <p:nvPr/>
          </p:nvSpPr>
          <p:spPr>
            <a:xfrm>
              <a:off x="2659856" y="2756878"/>
              <a:ext cx="17914" cy="17919"/>
            </a:xfrm>
            <a:custGeom>
              <a:avLst/>
              <a:gdLst/>
              <a:ahLst/>
              <a:cxnLst/>
              <a:rect l="l" t="t" r="r" b="b"/>
              <a:pathLst>
                <a:path w="3372" h="3373" extrusionOk="0">
                  <a:moveTo>
                    <a:pt x="1687" y="1"/>
                  </a:moveTo>
                  <a:cubicBezTo>
                    <a:pt x="755" y="1"/>
                    <a:pt x="1" y="754"/>
                    <a:pt x="1" y="1686"/>
                  </a:cubicBezTo>
                  <a:cubicBezTo>
                    <a:pt x="1" y="2618"/>
                    <a:pt x="755" y="3372"/>
                    <a:pt x="1687" y="3372"/>
                  </a:cubicBezTo>
                  <a:cubicBezTo>
                    <a:pt x="2619" y="3372"/>
                    <a:pt x="3372" y="2616"/>
                    <a:pt x="3372" y="1686"/>
                  </a:cubicBezTo>
                  <a:cubicBezTo>
                    <a:pt x="3372" y="754"/>
                    <a:pt x="2619" y="1"/>
                    <a:pt x="16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5" name="Google Shape;4007;p55">
              <a:extLst>
                <a:ext uri="{FF2B5EF4-FFF2-40B4-BE49-F238E27FC236}">
                  <a16:creationId xmlns:a16="http://schemas.microsoft.com/office/drawing/2014/main" id="{1AAEB37A-CB64-B42C-E8BB-28C9DC46E349}"/>
                </a:ext>
              </a:extLst>
            </p:cNvPr>
            <p:cNvSpPr/>
            <p:nvPr/>
          </p:nvSpPr>
          <p:spPr>
            <a:xfrm>
              <a:off x="2990071" y="2533889"/>
              <a:ext cx="163753" cy="1291"/>
            </a:xfrm>
            <a:custGeom>
              <a:avLst/>
              <a:gdLst/>
              <a:ahLst/>
              <a:cxnLst/>
              <a:rect l="l" t="t" r="r" b="b"/>
              <a:pathLst>
                <a:path w="30824" h="243" extrusionOk="0">
                  <a:moveTo>
                    <a:pt x="123" y="1"/>
                  </a:moveTo>
                  <a:cubicBezTo>
                    <a:pt x="57" y="1"/>
                    <a:pt x="1" y="55"/>
                    <a:pt x="1" y="121"/>
                  </a:cubicBezTo>
                  <a:cubicBezTo>
                    <a:pt x="1" y="187"/>
                    <a:pt x="57" y="243"/>
                    <a:pt x="123" y="243"/>
                  </a:cubicBezTo>
                  <a:lnTo>
                    <a:pt x="30703" y="243"/>
                  </a:lnTo>
                  <a:cubicBezTo>
                    <a:pt x="30769" y="243"/>
                    <a:pt x="30824" y="187"/>
                    <a:pt x="30824" y="121"/>
                  </a:cubicBezTo>
                  <a:cubicBezTo>
                    <a:pt x="30824" y="55"/>
                    <a:pt x="30769" y="1"/>
                    <a:pt x="307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9" name="Google Shape;4011;p55">
              <a:extLst>
                <a:ext uri="{FF2B5EF4-FFF2-40B4-BE49-F238E27FC236}">
                  <a16:creationId xmlns:a16="http://schemas.microsoft.com/office/drawing/2014/main" id="{AA9702AD-2120-4EB5-F7BD-79C9EBF58EFD}"/>
                </a:ext>
              </a:extLst>
            </p:cNvPr>
            <p:cNvSpPr/>
            <p:nvPr/>
          </p:nvSpPr>
          <p:spPr>
            <a:xfrm>
              <a:off x="2833559" y="2761962"/>
              <a:ext cx="248503" cy="268106"/>
            </a:xfrm>
            <a:custGeom>
              <a:avLst/>
              <a:gdLst/>
              <a:ahLst/>
              <a:cxnLst/>
              <a:rect l="l" t="t" r="r" b="b"/>
              <a:pathLst>
                <a:path w="46777" h="50467" extrusionOk="0">
                  <a:moveTo>
                    <a:pt x="1" y="1"/>
                  </a:moveTo>
                  <a:lnTo>
                    <a:pt x="1" y="1458"/>
                  </a:lnTo>
                  <a:lnTo>
                    <a:pt x="21544" y="1458"/>
                  </a:lnTo>
                  <a:cubicBezTo>
                    <a:pt x="34653" y="1458"/>
                    <a:pt x="45320" y="12123"/>
                    <a:pt x="45320" y="25233"/>
                  </a:cubicBezTo>
                  <a:cubicBezTo>
                    <a:pt x="45320" y="38344"/>
                    <a:pt x="34653" y="49009"/>
                    <a:pt x="21544" y="49009"/>
                  </a:cubicBezTo>
                  <a:lnTo>
                    <a:pt x="1" y="49009"/>
                  </a:lnTo>
                  <a:lnTo>
                    <a:pt x="1" y="50466"/>
                  </a:lnTo>
                  <a:lnTo>
                    <a:pt x="21544" y="50466"/>
                  </a:lnTo>
                  <a:cubicBezTo>
                    <a:pt x="35457" y="50466"/>
                    <a:pt x="46776" y="39146"/>
                    <a:pt x="46776" y="25233"/>
                  </a:cubicBezTo>
                  <a:cubicBezTo>
                    <a:pt x="46776" y="11322"/>
                    <a:pt x="35457" y="1"/>
                    <a:pt x="21544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91" name="Google Shape;3996;p55">
            <a:extLst>
              <a:ext uri="{FF2B5EF4-FFF2-40B4-BE49-F238E27FC236}">
                <a16:creationId xmlns:a16="http://schemas.microsoft.com/office/drawing/2014/main" id="{56FA047A-87F8-499F-7E73-06B4C7371689}"/>
              </a:ext>
            </a:extLst>
          </p:cNvPr>
          <p:cNvSpPr/>
          <p:nvPr/>
        </p:nvSpPr>
        <p:spPr>
          <a:xfrm>
            <a:off x="5258727" y="3112727"/>
            <a:ext cx="726336" cy="367555"/>
          </a:xfrm>
          <a:custGeom>
            <a:avLst/>
            <a:gdLst/>
            <a:ahLst/>
            <a:cxnLst/>
            <a:rect l="l" t="t" r="r" b="b"/>
            <a:pathLst>
              <a:path w="49277" h="39990" extrusionOk="0">
                <a:moveTo>
                  <a:pt x="7996" y="1"/>
                </a:moveTo>
                <a:cubicBezTo>
                  <a:pt x="3580" y="1"/>
                  <a:pt x="0" y="3580"/>
                  <a:pt x="0" y="7995"/>
                </a:cubicBezTo>
                <a:lnTo>
                  <a:pt x="0" y="31993"/>
                </a:lnTo>
                <a:cubicBezTo>
                  <a:pt x="0" y="36409"/>
                  <a:pt x="3580" y="39989"/>
                  <a:pt x="7996" y="39989"/>
                </a:cubicBezTo>
                <a:lnTo>
                  <a:pt x="41280" y="39989"/>
                </a:lnTo>
                <a:cubicBezTo>
                  <a:pt x="45697" y="39989"/>
                  <a:pt x="49277" y="36409"/>
                  <a:pt x="49277" y="31993"/>
                </a:cubicBezTo>
                <a:lnTo>
                  <a:pt x="49277" y="7995"/>
                </a:lnTo>
                <a:cubicBezTo>
                  <a:pt x="49277" y="3580"/>
                  <a:pt x="45697" y="1"/>
                  <a:pt x="41280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92" name="Google Shape;3996;p55">
            <a:extLst>
              <a:ext uri="{FF2B5EF4-FFF2-40B4-BE49-F238E27FC236}">
                <a16:creationId xmlns:a16="http://schemas.microsoft.com/office/drawing/2014/main" id="{A72CC212-D5DF-40D1-EFB9-E9619D999EE5}"/>
              </a:ext>
            </a:extLst>
          </p:cNvPr>
          <p:cNvSpPr/>
          <p:nvPr/>
        </p:nvSpPr>
        <p:spPr>
          <a:xfrm>
            <a:off x="4313421" y="4367769"/>
            <a:ext cx="726336" cy="367555"/>
          </a:xfrm>
          <a:custGeom>
            <a:avLst/>
            <a:gdLst/>
            <a:ahLst/>
            <a:cxnLst/>
            <a:rect l="l" t="t" r="r" b="b"/>
            <a:pathLst>
              <a:path w="49277" h="39990" extrusionOk="0">
                <a:moveTo>
                  <a:pt x="7996" y="1"/>
                </a:moveTo>
                <a:cubicBezTo>
                  <a:pt x="3580" y="1"/>
                  <a:pt x="0" y="3580"/>
                  <a:pt x="0" y="7995"/>
                </a:cubicBezTo>
                <a:lnTo>
                  <a:pt x="0" y="31993"/>
                </a:lnTo>
                <a:cubicBezTo>
                  <a:pt x="0" y="36409"/>
                  <a:pt x="3580" y="39989"/>
                  <a:pt x="7996" y="39989"/>
                </a:cubicBezTo>
                <a:lnTo>
                  <a:pt x="41280" y="39989"/>
                </a:lnTo>
                <a:cubicBezTo>
                  <a:pt x="45697" y="39989"/>
                  <a:pt x="49277" y="36409"/>
                  <a:pt x="49277" y="31993"/>
                </a:cubicBezTo>
                <a:lnTo>
                  <a:pt x="49277" y="7995"/>
                </a:lnTo>
                <a:cubicBezTo>
                  <a:pt x="49277" y="3580"/>
                  <a:pt x="45697" y="1"/>
                  <a:pt x="41280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93" name="Google Shape;3998;p55">
            <a:extLst>
              <a:ext uri="{FF2B5EF4-FFF2-40B4-BE49-F238E27FC236}">
                <a16:creationId xmlns:a16="http://schemas.microsoft.com/office/drawing/2014/main" id="{E2DF7971-2D66-72C9-5532-AE912E93B9A3}"/>
              </a:ext>
            </a:extLst>
          </p:cNvPr>
          <p:cNvSpPr/>
          <p:nvPr/>
        </p:nvSpPr>
        <p:spPr>
          <a:xfrm>
            <a:off x="3360475" y="4367769"/>
            <a:ext cx="726367" cy="367555"/>
          </a:xfrm>
          <a:custGeom>
            <a:avLst/>
            <a:gdLst/>
            <a:ahLst/>
            <a:cxnLst/>
            <a:rect l="l" t="t" r="r" b="b"/>
            <a:pathLst>
              <a:path w="49279" h="39990" extrusionOk="0">
                <a:moveTo>
                  <a:pt x="7997" y="1"/>
                </a:moveTo>
                <a:cubicBezTo>
                  <a:pt x="3580" y="1"/>
                  <a:pt x="0" y="3580"/>
                  <a:pt x="0" y="7995"/>
                </a:cubicBezTo>
                <a:lnTo>
                  <a:pt x="0" y="31993"/>
                </a:lnTo>
                <a:cubicBezTo>
                  <a:pt x="0" y="36409"/>
                  <a:pt x="3580" y="39989"/>
                  <a:pt x="7997" y="39989"/>
                </a:cubicBezTo>
                <a:lnTo>
                  <a:pt x="41282" y="39989"/>
                </a:lnTo>
                <a:cubicBezTo>
                  <a:pt x="45697" y="39989"/>
                  <a:pt x="49277" y="36409"/>
                  <a:pt x="49277" y="31993"/>
                </a:cubicBezTo>
                <a:lnTo>
                  <a:pt x="49277" y="7995"/>
                </a:lnTo>
                <a:cubicBezTo>
                  <a:pt x="49278" y="3580"/>
                  <a:pt x="45697" y="1"/>
                  <a:pt x="41282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94" name="Google Shape;3996;p55">
            <a:extLst>
              <a:ext uri="{FF2B5EF4-FFF2-40B4-BE49-F238E27FC236}">
                <a16:creationId xmlns:a16="http://schemas.microsoft.com/office/drawing/2014/main" id="{3C92CAB1-C55B-BC0D-6C8C-40BE045DB81C}"/>
              </a:ext>
            </a:extLst>
          </p:cNvPr>
          <p:cNvSpPr/>
          <p:nvPr/>
        </p:nvSpPr>
        <p:spPr>
          <a:xfrm>
            <a:off x="5255899" y="4359055"/>
            <a:ext cx="726336" cy="367555"/>
          </a:xfrm>
          <a:custGeom>
            <a:avLst/>
            <a:gdLst/>
            <a:ahLst/>
            <a:cxnLst/>
            <a:rect l="l" t="t" r="r" b="b"/>
            <a:pathLst>
              <a:path w="49277" h="39990" extrusionOk="0">
                <a:moveTo>
                  <a:pt x="7996" y="1"/>
                </a:moveTo>
                <a:cubicBezTo>
                  <a:pt x="3580" y="1"/>
                  <a:pt x="0" y="3580"/>
                  <a:pt x="0" y="7995"/>
                </a:cubicBezTo>
                <a:lnTo>
                  <a:pt x="0" y="31993"/>
                </a:lnTo>
                <a:cubicBezTo>
                  <a:pt x="0" y="36409"/>
                  <a:pt x="3580" y="39989"/>
                  <a:pt x="7996" y="39989"/>
                </a:cubicBezTo>
                <a:lnTo>
                  <a:pt x="41280" y="39989"/>
                </a:lnTo>
                <a:cubicBezTo>
                  <a:pt x="45697" y="39989"/>
                  <a:pt x="49277" y="36409"/>
                  <a:pt x="49277" y="31993"/>
                </a:cubicBezTo>
                <a:lnTo>
                  <a:pt x="49277" y="7995"/>
                </a:lnTo>
                <a:cubicBezTo>
                  <a:pt x="49277" y="3580"/>
                  <a:pt x="45697" y="1"/>
                  <a:pt x="41280" y="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95" name="TextBox 1194">
            <a:extLst>
              <a:ext uri="{FF2B5EF4-FFF2-40B4-BE49-F238E27FC236}">
                <a16:creationId xmlns:a16="http://schemas.microsoft.com/office/drawing/2014/main" id="{EF365A85-ABAF-E627-B637-0DC42AEF39E1}"/>
              </a:ext>
            </a:extLst>
          </p:cNvPr>
          <p:cNvSpPr txBox="1"/>
          <p:nvPr/>
        </p:nvSpPr>
        <p:spPr>
          <a:xfrm>
            <a:off x="3296974" y="3144693"/>
            <a:ext cx="820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600" dirty="0"/>
              <a:t>Change in demographics</a:t>
            </a:r>
          </a:p>
        </p:txBody>
      </p:sp>
      <p:sp>
        <p:nvSpPr>
          <p:cNvPr id="1196" name="TextBox 1195">
            <a:extLst>
              <a:ext uri="{FF2B5EF4-FFF2-40B4-BE49-F238E27FC236}">
                <a16:creationId xmlns:a16="http://schemas.microsoft.com/office/drawing/2014/main" id="{8C94421E-5413-7ACA-9082-12170F7992E8}"/>
              </a:ext>
            </a:extLst>
          </p:cNvPr>
          <p:cNvSpPr txBox="1"/>
          <p:nvPr/>
        </p:nvSpPr>
        <p:spPr>
          <a:xfrm>
            <a:off x="4268787" y="3157514"/>
            <a:ext cx="820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600" dirty="0"/>
              <a:t>Rising Income Level</a:t>
            </a:r>
          </a:p>
        </p:txBody>
      </p:sp>
      <p:sp>
        <p:nvSpPr>
          <p:cNvPr id="1197" name="TextBox 1196">
            <a:extLst>
              <a:ext uri="{FF2B5EF4-FFF2-40B4-BE49-F238E27FC236}">
                <a16:creationId xmlns:a16="http://schemas.microsoft.com/office/drawing/2014/main" id="{50BE24D8-2876-BFAC-33B2-F6305B738A59}"/>
              </a:ext>
            </a:extLst>
          </p:cNvPr>
          <p:cNvSpPr txBox="1"/>
          <p:nvPr/>
        </p:nvSpPr>
        <p:spPr>
          <a:xfrm>
            <a:off x="5215115" y="3157514"/>
            <a:ext cx="820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600" dirty="0"/>
              <a:t>Increasing Health Awareness</a:t>
            </a:r>
          </a:p>
        </p:txBody>
      </p:sp>
      <p:sp>
        <p:nvSpPr>
          <p:cNvPr id="1198" name="TextBox 1197">
            <a:extLst>
              <a:ext uri="{FF2B5EF4-FFF2-40B4-BE49-F238E27FC236}">
                <a16:creationId xmlns:a16="http://schemas.microsoft.com/office/drawing/2014/main" id="{8EE28726-0980-2E6B-5C4F-1AD17EE438D0}"/>
              </a:ext>
            </a:extLst>
          </p:cNvPr>
          <p:cNvSpPr txBox="1"/>
          <p:nvPr/>
        </p:nvSpPr>
        <p:spPr>
          <a:xfrm>
            <a:off x="3305672" y="4413046"/>
            <a:ext cx="820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600" dirty="0"/>
              <a:t>Health Insurance Coverage</a:t>
            </a:r>
          </a:p>
        </p:txBody>
      </p:sp>
      <p:sp>
        <p:nvSpPr>
          <p:cNvPr id="1199" name="TextBox 1198">
            <a:extLst>
              <a:ext uri="{FF2B5EF4-FFF2-40B4-BE49-F238E27FC236}">
                <a16:creationId xmlns:a16="http://schemas.microsoft.com/office/drawing/2014/main" id="{7AC5BF30-6830-3DD1-EC99-65B4BBAB0A1A}"/>
              </a:ext>
            </a:extLst>
          </p:cNvPr>
          <p:cNvSpPr txBox="1"/>
          <p:nvPr/>
        </p:nvSpPr>
        <p:spPr>
          <a:xfrm>
            <a:off x="4268682" y="4464712"/>
            <a:ext cx="82073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600" dirty="0"/>
              <a:t>Medical Tourism</a:t>
            </a:r>
          </a:p>
        </p:txBody>
      </p:sp>
      <p:sp>
        <p:nvSpPr>
          <p:cNvPr id="1200" name="TextBox 1199">
            <a:extLst>
              <a:ext uri="{FF2B5EF4-FFF2-40B4-BE49-F238E27FC236}">
                <a16:creationId xmlns:a16="http://schemas.microsoft.com/office/drawing/2014/main" id="{A30FB65A-DA6B-248D-C560-5DAB97A4A0D4}"/>
              </a:ext>
            </a:extLst>
          </p:cNvPr>
          <p:cNvSpPr txBox="1"/>
          <p:nvPr/>
        </p:nvSpPr>
        <p:spPr>
          <a:xfrm>
            <a:off x="5215115" y="4365422"/>
            <a:ext cx="82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600" dirty="0"/>
              <a:t>Conducive Government Policies</a:t>
            </a:r>
          </a:p>
        </p:txBody>
      </p:sp>
      <p:sp>
        <p:nvSpPr>
          <p:cNvPr id="1201" name="TextBox 1200">
            <a:extLst>
              <a:ext uri="{FF2B5EF4-FFF2-40B4-BE49-F238E27FC236}">
                <a16:creationId xmlns:a16="http://schemas.microsoft.com/office/drawing/2014/main" id="{47F06B4D-9276-CEC9-17A8-9E586405CD89}"/>
              </a:ext>
            </a:extLst>
          </p:cNvPr>
          <p:cNvSpPr txBox="1"/>
          <p:nvPr/>
        </p:nvSpPr>
        <p:spPr>
          <a:xfrm>
            <a:off x="4018222" y="3781391"/>
            <a:ext cx="1301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600" b="1" dirty="0"/>
              <a:t>Growth in Healthcare Delivery</a:t>
            </a:r>
          </a:p>
          <a:p>
            <a:pPr algn="ctr"/>
            <a:r>
              <a:rPr lang="en-IN" sz="600" b="1" dirty="0"/>
              <a:t>~ 11 – 13% from FY25 - FY27</a:t>
            </a:r>
          </a:p>
        </p:txBody>
      </p:sp>
      <p:sp>
        <p:nvSpPr>
          <p:cNvPr id="1215" name="Rectangle 1214">
            <a:extLst>
              <a:ext uri="{FF2B5EF4-FFF2-40B4-BE49-F238E27FC236}">
                <a16:creationId xmlns:a16="http://schemas.microsoft.com/office/drawing/2014/main" id="{AB7E39AB-7E2F-3B44-927B-1D292B7A455A}"/>
              </a:ext>
            </a:extLst>
          </p:cNvPr>
          <p:cNvSpPr/>
          <p:nvPr/>
        </p:nvSpPr>
        <p:spPr>
          <a:xfrm>
            <a:off x="6219825" y="2801365"/>
            <a:ext cx="2854642" cy="149219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Industry Assessment</a:t>
            </a:r>
          </a:p>
        </p:txBody>
      </p:sp>
      <p:grpSp>
        <p:nvGrpSpPr>
          <p:cNvPr id="1288" name="Google Shape;838;p31">
            <a:extLst>
              <a:ext uri="{FF2B5EF4-FFF2-40B4-BE49-F238E27FC236}">
                <a16:creationId xmlns:a16="http://schemas.microsoft.com/office/drawing/2014/main" id="{AEBE8BAC-6467-09B1-7979-9D9DFAC855A0}"/>
              </a:ext>
            </a:extLst>
          </p:cNvPr>
          <p:cNvGrpSpPr/>
          <p:nvPr/>
        </p:nvGrpSpPr>
        <p:grpSpPr>
          <a:xfrm>
            <a:off x="1893697" y="3127158"/>
            <a:ext cx="440970" cy="440023"/>
            <a:chOff x="7990840" y="2435226"/>
            <a:chExt cx="354363" cy="353631"/>
          </a:xfrm>
        </p:grpSpPr>
        <p:sp>
          <p:nvSpPr>
            <p:cNvPr id="1289" name="Google Shape;839;p31">
              <a:extLst>
                <a:ext uri="{FF2B5EF4-FFF2-40B4-BE49-F238E27FC236}">
                  <a16:creationId xmlns:a16="http://schemas.microsoft.com/office/drawing/2014/main" id="{D5AB9C44-7F93-DDA3-95D2-EFD9611F80A3}"/>
                </a:ext>
              </a:extLst>
            </p:cNvPr>
            <p:cNvSpPr/>
            <p:nvPr/>
          </p:nvSpPr>
          <p:spPr>
            <a:xfrm>
              <a:off x="7990840" y="2435226"/>
              <a:ext cx="354363" cy="353631"/>
            </a:xfrm>
            <a:custGeom>
              <a:avLst/>
              <a:gdLst/>
              <a:ahLst/>
              <a:cxnLst/>
              <a:rect l="l" t="t" r="r" b="b"/>
              <a:pathLst>
                <a:path w="11133" h="11110" extrusionOk="0">
                  <a:moveTo>
                    <a:pt x="3477" y="1727"/>
                  </a:moveTo>
                  <a:cubicBezTo>
                    <a:pt x="3679" y="1727"/>
                    <a:pt x="3834" y="1894"/>
                    <a:pt x="3834" y="2084"/>
                  </a:cubicBezTo>
                  <a:lnTo>
                    <a:pt x="3834" y="2430"/>
                  </a:lnTo>
                  <a:cubicBezTo>
                    <a:pt x="3834" y="2727"/>
                    <a:pt x="3596" y="2965"/>
                    <a:pt x="3298" y="2965"/>
                  </a:cubicBezTo>
                  <a:cubicBezTo>
                    <a:pt x="3024" y="2965"/>
                    <a:pt x="2786" y="2727"/>
                    <a:pt x="2786" y="2430"/>
                  </a:cubicBezTo>
                  <a:lnTo>
                    <a:pt x="2786" y="2084"/>
                  </a:lnTo>
                  <a:cubicBezTo>
                    <a:pt x="2786" y="1894"/>
                    <a:pt x="2941" y="1727"/>
                    <a:pt x="3143" y="1727"/>
                  </a:cubicBezTo>
                  <a:close/>
                  <a:moveTo>
                    <a:pt x="3477" y="3299"/>
                  </a:moveTo>
                  <a:lnTo>
                    <a:pt x="3477" y="3311"/>
                  </a:lnTo>
                  <a:cubicBezTo>
                    <a:pt x="3501" y="3382"/>
                    <a:pt x="3513" y="3454"/>
                    <a:pt x="3536" y="3537"/>
                  </a:cubicBezTo>
                  <a:lnTo>
                    <a:pt x="3322" y="3751"/>
                  </a:lnTo>
                  <a:lnTo>
                    <a:pt x="3286" y="3751"/>
                  </a:lnTo>
                  <a:lnTo>
                    <a:pt x="3060" y="3537"/>
                  </a:lnTo>
                  <a:cubicBezTo>
                    <a:pt x="3096" y="3489"/>
                    <a:pt x="3108" y="3430"/>
                    <a:pt x="3108" y="3370"/>
                  </a:cubicBezTo>
                  <a:lnTo>
                    <a:pt x="3108" y="3299"/>
                  </a:lnTo>
                  <a:close/>
                  <a:moveTo>
                    <a:pt x="5418" y="4966"/>
                  </a:moveTo>
                  <a:lnTo>
                    <a:pt x="5418" y="7025"/>
                  </a:lnTo>
                  <a:lnTo>
                    <a:pt x="5406" y="7025"/>
                  </a:lnTo>
                  <a:lnTo>
                    <a:pt x="4346" y="7787"/>
                  </a:lnTo>
                  <a:lnTo>
                    <a:pt x="4346" y="5180"/>
                  </a:lnTo>
                  <a:cubicBezTo>
                    <a:pt x="4429" y="5239"/>
                    <a:pt x="4536" y="5287"/>
                    <a:pt x="4656" y="5299"/>
                  </a:cubicBezTo>
                  <a:lnTo>
                    <a:pt x="4786" y="5299"/>
                  </a:lnTo>
                  <a:cubicBezTo>
                    <a:pt x="4929" y="5287"/>
                    <a:pt x="5060" y="5239"/>
                    <a:pt x="5167" y="5156"/>
                  </a:cubicBezTo>
                  <a:lnTo>
                    <a:pt x="5418" y="4966"/>
                  </a:lnTo>
                  <a:close/>
                  <a:moveTo>
                    <a:pt x="2846" y="3739"/>
                  </a:moveTo>
                  <a:lnTo>
                    <a:pt x="3096" y="3989"/>
                  </a:lnTo>
                  <a:cubicBezTo>
                    <a:pt x="3155" y="4049"/>
                    <a:pt x="3239" y="4096"/>
                    <a:pt x="3334" y="4096"/>
                  </a:cubicBezTo>
                  <a:cubicBezTo>
                    <a:pt x="3417" y="4096"/>
                    <a:pt x="3513" y="4073"/>
                    <a:pt x="3572" y="3989"/>
                  </a:cubicBezTo>
                  <a:lnTo>
                    <a:pt x="3798" y="3775"/>
                  </a:lnTo>
                  <a:cubicBezTo>
                    <a:pt x="3870" y="3799"/>
                    <a:pt x="3941" y="3823"/>
                    <a:pt x="4013" y="3823"/>
                  </a:cubicBezTo>
                  <a:cubicBezTo>
                    <a:pt x="4072" y="3823"/>
                    <a:pt x="4120" y="3858"/>
                    <a:pt x="4167" y="3906"/>
                  </a:cubicBezTo>
                  <a:lnTo>
                    <a:pt x="4644" y="4501"/>
                  </a:lnTo>
                  <a:cubicBezTo>
                    <a:pt x="4676" y="4541"/>
                    <a:pt x="4724" y="4558"/>
                    <a:pt x="4769" y="4558"/>
                  </a:cubicBezTo>
                  <a:cubicBezTo>
                    <a:pt x="4807" y="4558"/>
                    <a:pt x="4843" y="4547"/>
                    <a:pt x="4870" y="4525"/>
                  </a:cubicBezTo>
                  <a:lnTo>
                    <a:pt x="5441" y="4061"/>
                  </a:lnTo>
                  <a:cubicBezTo>
                    <a:pt x="5483" y="4031"/>
                    <a:pt x="5534" y="4016"/>
                    <a:pt x="5581" y="4016"/>
                  </a:cubicBezTo>
                  <a:cubicBezTo>
                    <a:pt x="5629" y="4016"/>
                    <a:pt x="5674" y="4031"/>
                    <a:pt x="5703" y="4061"/>
                  </a:cubicBezTo>
                  <a:cubicBezTo>
                    <a:pt x="5739" y="4108"/>
                    <a:pt x="5763" y="4156"/>
                    <a:pt x="5763" y="4216"/>
                  </a:cubicBezTo>
                  <a:cubicBezTo>
                    <a:pt x="5739" y="4227"/>
                    <a:pt x="5727" y="4275"/>
                    <a:pt x="5679" y="4311"/>
                  </a:cubicBezTo>
                  <a:lnTo>
                    <a:pt x="4953" y="4882"/>
                  </a:lnTo>
                  <a:cubicBezTo>
                    <a:pt x="4894" y="4930"/>
                    <a:pt x="4834" y="4966"/>
                    <a:pt x="4763" y="4966"/>
                  </a:cubicBezTo>
                  <a:lnTo>
                    <a:pt x="4691" y="4966"/>
                  </a:lnTo>
                  <a:cubicBezTo>
                    <a:pt x="4596" y="4942"/>
                    <a:pt x="4513" y="4906"/>
                    <a:pt x="4453" y="4823"/>
                  </a:cubicBezTo>
                  <a:lnTo>
                    <a:pt x="4310" y="4644"/>
                  </a:lnTo>
                  <a:cubicBezTo>
                    <a:pt x="4288" y="4607"/>
                    <a:pt x="4247" y="4588"/>
                    <a:pt x="4205" y="4588"/>
                  </a:cubicBezTo>
                  <a:cubicBezTo>
                    <a:pt x="4180" y="4588"/>
                    <a:pt x="4154" y="4595"/>
                    <a:pt x="4132" y="4608"/>
                  </a:cubicBezTo>
                  <a:cubicBezTo>
                    <a:pt x="4072" y="4632"/>
                    <a:pt x="4036" y="4692"/>
                    <a:pt x="4036" y="4751"/>
                  </a:cubicBezTo>
                  <a:lnTo>
                    <a:pt x="4036" y="8014"/>
                  </a:lnTo>
                  <a:lnTo>
                    <a:pt x="3655" y="8276"/>
                  </a:lnTo>
                  <a:lnTo>
                    <a:pt x="3655" y="6763"/>
                  </a:lnTo>
                  <a:cubicBezTo>
                    <a:pt x="3655" y="6668"/>
                    <a:pt x="3584" y="6597"/>
                    <a:pt x="3501" y="6597"/>
                  </a:cubicBezTo>
                  <a:cubicBezTo>
                    <a:pt x="3405" y="6597"/>
                    <a:pt x="3334" y="6668"/>
                    <a:pt x="3334" y="6763"/>
                  </a:cubicBezTo>
                  <a:lnTo>
                    <a:pt x="3334" y="8502"/>
                  </a:lnTo>
                  <a:lnTo>
                    <a:pt x="2798" y="8895"/>
                  </a:lnTo>
                  <a:lnTo>
                    <a:pt x="2798" y="6811"/>
                  </a:lnTo>
                  <a:cubicBezTo>
                    <a:pt x="2798" y="6644"/>
                    <a:pt x="2751" y="6490"/>
                    <a:pt x="2691" y="6347"/>
                  </a:cubicBezTo>
                  <a:lnTo>
                    <a:pt x="2524" y="6013"/>
                  </a:lnTo>
                  <a:cubicBezTo>
                    <a:pt x="2489" y="5918"/>
                    <a:pt x="2453" y="5811"/>
                    <a:pt x="2453" y="5704"/>
                  </a:cubicBezTo>
                  <a:lnTo>
                    <a:pt x="2453" y="4037"/>
                  </a:lnTo>
                  <a:cubicBezTo>
                    <a:pt x="2453" y="3966"/>
                    <a:pt x="2500" y="3906"/>
                    <a:pt x="2560" y="3870"/>
                  </a:cubicBezTo>
                  <a:lnTo>
                    <a:pt x="2846" y="3739"/>
                  </a:lnTo>
                  <a:close/>
                  <a:moveTo>
                    <a:pt x="5560" y="1"/>
                  </a:moveTo>
                  <a:cubicBezTo>
                    <a:pt x="5477" y="1"/>
                    <a:pt x="5406" y="84"/>
                    <a:pt x="5406" y="167"/>
                  </a:cubicBezTo>
                  <a:lnTo>
                    <a:pt x="5406" y="3680"/>
                  </a:lnTo>
                  <a:cubicBezTo>
                    <a:pt x="5346" y="3692"/>
                    <a:pt x="5287" y="3727"/>
                    <a:pt x="5239" y="3775"/>
                  </a:cubicBezTo>
                  <a:lnTo>
                    <a:pt x="4775" y="4132"/>
                  </a:lnTo>
                  <a:lnTo>
                    <a:pt x="4405" y="3656"/>
                  </a:lnTo>
                  <a:cubicBezTo>
                    <a:pt x="4298" y="3537"/>
                    <a:pt x="4167" y="3454"/>
                    <a:pt x="4001" y="3454"/>
                  </a:cubicBezTo>
                  <a:cubicBezTo>
                    <a:pt x="3894" y="3454"/>
                    <a:pt x="3822" y="3370"/>
                    <a:pt x="3822" y="3275"/>
                  </a:cubicBezTo>
                  <a:lnTo>
                    <a:pt x="3822" y="3096"/>
                  </a:lnTo>
                  <a:cubicBezTo>
                    <a:pt x="4036" y="2953"/>
                    <a:pt x="4167" y="2703"/>
                    <a:pt x="4167" y="2418"/>
                  </a:cubicBezTo>
                  <a:lnTo>
                    <a:pt x="4167" y="2072"/>
                  </a:lnTo>
                  <a:cubicBezTo>
                    <a:pt x="4167" y="1703"/>
                    <a:pt x="3858" y="1394"/>
                    <a:pt x="3477" y="1394"/>
                  </a:cubicBezTo>
                  <a:lnTo>
                    <a:pt x="3143" y="1394"/>
                  </a:lnTo>
                  <a:cubicBezTo>
                    <a:pt x="2762" y="1394"/>
                    <a:pt x="2453" y="1703"/>
                    <a:pt x="2453" y="2072"/>
                  </a:cubicBezTo>
                  <a:lnTo>
                    <a:pt x="2453" y="2418"/>
                  </a:lnTo>
                  <a:cubicBezTo>
                    <a:pt x="2453" y="2703"/>
                    <a:pt x="2584" y="2953"/>
                    <a:pt x="2798" y="3096"/>
                  </a:cubicBezTo>
                  <a:lnTo>
                    <a:pt x="2798" y="3358"/>
                  </a:lnTo>
                  <a:lnTo>
                    <a:pt x="2798" y="3370"/>
                  </a:lnTo>
                  <a:lnTo>
                    <a:pt x="2393" y="3573"/>
                  </a:lnTo>
                  <a:cubicBezTo>
                    <a:pt x="2215" y="3668"/>
                    <a:pt x="2108" y="3846"/>
                    <a:pt x="2108" y="4037"/>
                  </a:cubicBezTo>
                  <a:lnTo>
                    <a:pt x="2108" y="5704"/>
                  </a:lnTo>
                  <a:cubicBezTo>
                    <a:pt x="2108" y="5871"/>
                    <a:pt x="2155" y="6013"/>
                    <a:pt x="2215" y="6168"/>
                  </a:cubicBezTo>
                  <a:lnTo>
                    <a:pt x="2381" y="6490"/>
                  </a:lnTo>
                  <a:cubicBezTo>
                    <a:pt x="2429" y="6597"/>
                    <a:pt x="2453" y="6704"/>
                    <a:pt x="2453" y="6811"/>
                  </a:cubicBezTo>
                  <a:lnTo>
                    <a:pt x="2453" y="9133"/>
                  </a:lnTo>
                  <a:lnTo>
                    <a:pt x="84" y="10812"/>
                  </a:lnTo>
                  <a:cubicBezTo>
                    <a:pt x="12" y="10859"/>
                    <a:pt x="0" y="10954"/>
                    <a:pt x="48" y="11038"/>
                  </a:cubicBezTo>
                  <a:cubicBezTo>
                    <a:pt x="69" y="11081"/>
                    <a:pt x="116" y="11102"/>
                    <a:pt x="166" y="11102"/>
                  </a:cubicBezTo>
                  <a:cubicBezTo>
                    <a:pt x="199" y="11102"/>
                    <a:pt x="234" y="11093"/>
                    <a:pt x="262" y="11074"/>
                  </a:cubicBezTo>
                  <a:lnTo>
                    <a:pt x="5548" y="7323"/>
                  </a:lnTo>
                  <a:lnTo>
                    <a:pt x="10835" y="11074"/>
                  </a:lnTo>
                  <a:cubicBezTo>
                    <a:pt x="10859" y="11097"/>
                    <a:pt x="10894" y="11109"/>
                    <a:pt x="10918" y="11109"/>
                  </a:cubicBezTo>
                  <a:cubicBezTo>
                    <a:pt x="10966" y="11109"/>
                    <a:pt x="11025" y="11074"/>
                    <a:pt x="11061" y="11038"/>
                  </a:cubicBezTo>
                  <a:cubicBezTo>
                    <a:pt x="11133" y="10954"/>
                    <a:pt x="11121" y="10859"/>
                    <a:pt x="11037" y="10812"/>
                  </a:cubicBezTo>
                  <a:lnTo>
                    <a:pt x="5727" y="7049"/>
                  </a:lnTo>
                  <a:lnTo>
                    <a:pt x="5727" y="4692"/>
                  </a:lnTo>
                  <a:lnTo>
                    <a:pt x="5882" y="4573"/>
                  </a:lnTo>
                  <a:cubicBezTo>
                    <a:pt x="6001" y="4477"/>
                    <a:pt x="6072" y="4335"/>
                    <a:pt x="6072" y="4180"/>
                  </a:cubicBezTo>
                  <a:cubicBezTo>
                    <a:pt x="6072" y="4037"/>
                    <a:pt x="6013" y="3882"/>
                    <a:pt x="5906" y="3787"/>
                  </a:cubicBezTo>
                  <a:cubicBezTo>
                    <a:pt x="5858" y="3739"/>
                    <a:pt x="5787" y="3704"/>
                    <a:pt x="5727" y="3680"/>
                  </a:cubicBezTo>
                  <a:lnTo>
                    <a:pt x="5727" y="667"/>
                  </a:lnTo>
                  <a:lnTo>
                    <a:pt x="7906" y="667"/>
                  </a:lnTo>
                  <a:lnTo>
                    <a:pt x="7680" y="1132"/>
                  </a:lnTo>
                  <a:cubicBezTo>
                    <a:pt x="7644" y="1179"/>
                    <a:pt x="7644" y="1239"/>
                    <a:pt x="7680" y="1287"/>
                  </a:cubicBezTo>
                  <a:lnTo>
                    <a:pt x="7906" y="1751"/>
                  </a:lnTo>
                  <a:lnTo>
                    <a:pt x="6251" y="1751"/>
                  </a:lnTo>
                  <a:cubicBezTo>
                    <a:pt x="6156" y="1751"/>
                    <a:pt x="6084" y="1822"/>
                    <a:pt x="6084" y="1906"/>
                  </a:cubicBezTo>
                  <a:cubicBezTo>
                    <a:pt x="6084" y="2001"/>
                    <a:pt x="6156" y="2072"/>
                    <a:pt x="6251" y="2072"/>
                  </a:cubicBezTo>
                  <a:lnTo>
                    <a:pt x="8156" y="2072"/>
                  </a:lnTo>
                  <a:cubicBezTo>
                    <a:pt x="8215" y="2072"/>
                    <a:pt x="8263" y="2049"/>
                    <a:pt x="8287" y="2001"/>
                  </a:cubicBezTo>
                  <a:cubicBezTo>
                    <a:pt x="8323" y="1953"/>
                    <a:pt x="8323" y="1894"/>
                    <a:pt x="8287" y="1834"/>
                  </a:cubicBezTo>
                  <a:lnTo>
                    <a:pt x="7977" y="1215"/>
                  </a:lnTo>
                  <a:lnTo>
                    <a:pt x="8287" y="584"/>
                  </a:lnTo>
                  <a:cubicBezTo>
                    <a:pt x="8323" y="537"/>
                    <a:pt x="8323" y="477"/>
                    <a:pt x="8287" y="417"/>
                  </a:cubicBezTo>
                  <a:cubicBezTo>
                    <a:pt x="8263" y="382"/>
                    <a:pt x="8204" y="346"/>
                    <a:pt x="8156" y="346"/>
                  </a:cubicBezTo>
                  <a:lnTo>
                    <a:pt x="5727" y="346"/>
                  </a:lnTo>
                  <a:lnTo>
                    <a:pt x="5727" y="167"/>
                  </a:lnTo>
                  <a:cubicBezTo>
                    <a:pt x="5727" y="84"/>
                    <a:pt x="5656" y="1"/>
                    <a:pt x="55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0" name="Google Shape;840;p31">
              <a:extLst>
                <a:ext uri="{FF2B5EF4-FFF2-40B4-BE49-F238E27FC236}">
                  <a16:creationId xmlns:a16="http://schemas.microsoft.com/office/drawing/2014/main" id="{8902A7F9-D7B7-1F01-F10E-508C21AECDD3}"/>
                </a:ext>
              </a:extLst>
            </p:cNvPr>
            <p:cNvSpPr/>
            <p:nvPr/>
          </p:nvSpPr>
          <p:spPr>
            <a:xfrm>
              <a:off x="8190160" y="2704158"/>
              <a:ext cx="61814" cy="45644"/>
            </a:xfrm>
            <a:custGeom>
              <a:avLst/>
              <a:gdLst/>
              <a:ahLst/>
              <a:cxnLst/>
              <a:rect l="l" t="t" r="r" b="b"/>
              <a:pathLst>
                <a:path w="1942" h="1434" extrusionOk="0">
                  <a:moveTo>
                    <a:pt x="173" y="0"/>
                  </a:moveTo>
                  <a:cubicBezTo>
                    <a:pt x="123" y="0"/>
                    <a:pt x="77" y="22"/>
                    <a:pt x="48" y="65"/>
                  </a:cubicBezTo>
                  <a:cubicBezTo>
                    <a:pt x="1" y="148"/>
                    <a:pt x="13" y="243"/>
                    <a:pt x="96" y="291"/>
                  </a:cubicBezTo>
                  <a:lnTo>
                    <a:pt x="1668" y="1410"/>
                  </a:lnTo>
                  <a:cubicBezTo>
                    <a:pt x="1703" y="1422"/>
                    <a:pt x="1727" y="1434"/>
                    <a:pt x="1763" y="1434"/>
                  </a:cubicBezTo>
                  <a:cubicBezTo>
                    <a:pt x="1799" y="1434"/>
                    <a:pt x="1858" y="1410"/>
                    <a:pt x="1894" y="1362"/>
                  </a:cubicBezTo>
                  <a:cubicBezTo>
                    <a:pt x="1942" y="1291"/>
                    <a:pt x="1918" y="1196"/>
                    <a:pt x="1846" y="1136"/>
                  </a:cubicBezTo>
                  <a:lnTo>
                    <a:pt x="275" y="29"/>
                  </a:lnTo>
                  <a:cubicBezTo>
                    <a:pt x="241" y="10"/>
                    <a:pt x="206" y="0"/>
                    <a:pt x="17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1" name="Google Shape;841;p31">
              <a:extLst>
                <a:ext uri="{FF2B5EF4-FFF2-40B4-BE49-F238E27FC236}">
                  <a16:creationId xmlns:a16="http://schemas.microsoft.com/office/drawing/2014/main" id="{9F9519A5-B6FD-4D84-FA4C-E0EB5B4B577F}"/>
                </a:ext>
              </a:extLst>
            </p:cNvPr>
            <p:cNvSpPr/>
            <p:nvPr/>
          </p:nvSpPr>
          <p:spPr>
            <a:xfrm>
              <a:off x="8162882" y="2684201"/>
              <a:ext cx="22026" cy="18239"/>
            </a:xfrm>
            <a:custGeom>
              <a:avLst/>
              <a:gdLst/>
              <a:ahLst/>
              <a:cxnLst/>
              <a:rect l="l" t="t" r="r" b="b"/>
              <a:pathLst>
                <a:path w="692" h="573" extrusionOk="0">
                  <a:moveTo>
                    <a:pt x="177" y="0"/>
                  </a:moveTo>
                  <a:cubicBezTo>
                    <a:pt x="123" y="0"/>
                    <a:pt x="67" y="26"/>
                    <a:pt x="36" y="73"/>
                  </a:cubicBezTo>
                  <a:cubicBezTo>
                    <a:pt x="1" y="144"/>
                    <a:pt x="13" y="251"/>
                    <a:pt x="84" y="299"/>
                  </a:cubicBezTo>
                  <a:lnTo>
                    <a:pt x="429" y="549"/>
                  </a:lnTo>
                  <a:cubicBezTo>
                    <a:pt x="453" y="561"/>
                    <a:pt x="489" y="573"/>
                    <a:pt x="513" y="573"/>
                  </a:cubicBezTo>
                  <a:cubicBezTo>
                    <a:pt x="560" y="573"/>
                    <a:pt x="620" y="549"/>
                    <a:pt x="655" y="501"/>
                  </a:cubicBezTo>
                  <a:cubicBezTo>
                    <a:pt x="691" y="430"/>
                    <a:pt x="679" y="323"/>
                    <a:pt x="608" y="275"/>
                  </a:cubicBezTo>
                  <a:lnTo>
                    <a:pt x="263" y="25"/>
                  </a:lnTo>
                  <a:cubicBezTo>
                    <a:pt x="237" y="8"/>
                    <a:pt x="207" y="0"/>
                    <a:pt x="17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92" name="Google Shape;842;p31">
            <a:extLst>
              <a:ext uri="{FF2B5EF4-FFF2-40B4-BE49-F238E27FC236}">
                <a16:creationId xmlns:a16="http://schemas.microsoft.com/office/drawing/2014/main" id="{F1D2BBED-F149-0FB9-DB3E-AE6D65CAC080}"/>
              </a:ext>
            </a:extLst>
          </p:cNvPr>
          <p:cNvGrpSpPr/>
          <p:nvPr/>
        </p:nvGrpSpPr>
        <p:grpSpPr>
          <a:xfrm>
            <a:off x="6230177" y="3057876"/>
            <a:ext cx="2854642" cy="401776"/>
            <a:chOff x="1698738" y="1213010"/>
            <a:chExt cx="5746575" cy="790864"/>
          </a:xfrm>
        </p:grpSpPr>
        <p:sp>
          <p:nvSpPr>
            <p:cNvPr id="1293" name="Google Shape;843;p31">
              <a:extLst>
                <a:ext uri="{FF2B5EF4-FFF2-40B4-BE49-F238E27FC236}">
                  <a16:creationId xmlns:a16="http://schemas.microsoft.com/office/drawing/2014/main" id="{4F892EDC-2631-F240-0F25-FC20C067691D}"/>
                </a:ext>
              </a:extLst>
            </p:cNvPr>
            <p:cNvSpPr/>
            <p:nvPr/>
          </p:nvSpPr>
          <p:spPr>
            <a:xfrm rot="16200000">
              <a:off x="3856939" y="-939126"/>
              <a:ext cx="784799" cy="510120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/>
            </a:p>
          </p:txBody>
        </p:sp>
        <p:sp>
          <p:nvSpPr>
            <p:cNvPr id="1297" name="Google Shape;845;p31">
              <a:extLst>
                <a:ext uri="{FF2B5EF4-FFF2-40B4-BE49-F238E27FC236}">
                  <a16:creationId xmlns:a16="http://schemas.microsoft.com/office/drawing/2014/main" id="{CFAD0BA5-D4E6-FA6B-3853-E9113BF361F2}"/>
                </a:ext>
              </a:extLst>
            </p:cNvPr>
            <p:cNvSpPr txBox="1"/>
            <p:nvPr/>
          </p:nvSpPr>
          <p:spPr>
            <a:xfrm>
              <a:off x="2486148" y="1213010"/>
              <a:ext cx="3240599" cy="3375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700" dirty="0">
                  <a:solidFill>
                    <a:srgbClr val="434343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STRENGTHS</a:t>
              </a:r>
              <a:endParaRPr sz="700" dirty="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1295" name="Google Shape;847;p31">
              <a:extLst>
                <a:ext uri="{FF2B5EF4-FFF2-40B4-BE49-F238E27FC236}">
                  <a16:creationId xmlns:a16="http://schemas.microsoft.com/office/drawing/2014/main" id="{156E099A-1CD6-CC2E-9044-C91F9FD41086}"/>
                </a:ext>
              </a:extLst>
            </p:cNvPr>
            <p:cNvSpPr/>
            <p:nvPr/>
          </p:nvSpPr>
          <p:spPr>
            <a:xfrm>
              <a:off x="6659013" y="1217550"/>
              <a:ext cx="786300" cy="7863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" sz="900" dirty="0">
                  <a:solidFill>
                    <a:srgbClr val="FFFFFF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S</a:t>
              </a:r>
              <a:endParaRPr sz="700" dirty="0"/>
            </a:p>
          </p:txBody>
        </p:sp>
        <p:sp>
          <p:nvSpPr>
            <p:cNvPr id="1296" name="Google Shape;848;p31">
              <a:extLst>
                <a:ext uri="{FF2B5EF4-FFF2-40B4-BE49-F238E27FC236}">
                  <a16:creationId xmlns:a16="http://schemas.microsoft.com/office/drawing/2014/main" id="{C1A17DBC-65C0-7D0C-5AE3-04CDD5E464FB}"/>
                </a:ext>
              </a:extLst>
            </p:cNvPr>
            <p:cNvSpPr/>
            <p:nvPr/>
          </p:nvSpPr>
          <p:spPr>
            <a:xfrm>
              <a:off x="1779688" y="1276200"/>
              <a:ext cx="669000" cy="669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dirty="0"/>
            </a:p>
          </p:txBody>
        </p:sp>
      </p:grpSp>
      <p:grpSp>
        <p:nvGrpSpPr>
          <p:cNvPr id="1305" name="Google Shape;842;p31">
            <a:extLst>
              <a:ext uri="{FF2B5EF4-FFF2-40B4-BE49-F238E27FC236}">
                <a16:creationId xmlns:a16="http://schemas.microsoft.com/office/drawing/2014/main" id="{5092F0F1-E317-C6A6-554A-2C077B8335EC}"/>
              </a:ext>
            </a:extLst>
          </p:cNvPr>
          <p:cNvGrpSpPr/>
          <p:nvPr/>
        </p:nvGrpSpPr>
        <p:grpSpPr>
          <a:xfrm>
            <a:off x="6235259" y="3978567"/>
            <a:ext cx="2854642" cy="401776"/>
            <a:chOff x="1698738" y="1213010"/>
            <a:chExt cx="5746575" cy="790864"/>
          </a:xfrm>
        </p:grpSpPr>
        <p:sp>
          <p:nvSpPr>
            <p:cNvPr id="1306" name="Google Shape;843;p31">
              <a:extLst>
                <a:ext uri="{FF2B5EF4-FFF2-40B4-BE49-F238E27FC236}">
                  <a16:creationId xmlns:a16="http://schemas.microsoft.com/office/drawing/2014/main" id="{4FB1352D-E153-3232-57A4-B9B41FAC58BD}"/>
                </a:ext>
              </a:extLst>
            </p:cNvPr>
            <p:cNvSpPr/>
            <p:nvPr/>
          </p:nvSpPr>
          <p:spPr>
            <a:xfrm rot="16200000">
              <a:off x="3856939" y="-939126"/>
              <a:ext cx="784799" cy="510120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dirty="0"/>
            </a:p>
          </p:txBody>
        </p:sp>
        <p:grpSp>
          <p:nvGrpSpPr>
            <p:cNvPr id="1307" name="Google Shape;844;p31">
              <a:extLst>
                <a:ext uri="{FF2B5EF4-FFF2-40B4-BE49-F238E27FC236}">
                  <a16:creationId xmlns:a16="http://schemas.microsoft.com/office/drawing/2014/main" id="{78BD8FAA-F0FB-8DEA-A496-69523E3CE07D}"/>
                </a:ext>
              </a:extLst>
            </p:cNvPr>
            <p:cNvGrpSpPr/>
            <p:nvPr/>
          </p:nvGrpSpPr>
          <p:grpSpPr>
            <a:xfrm>
              <a:off x="2372316" y="1213010"/>
              <a:ext cx="4394742" cy="719363"/>
              <a:chOff x="9055216" y="5401261"/>
              <a:chExt cx="4394742" cy="719363"/>
            </a:xfrm>
          </p:grpSpPr>
          <p:sp>
            <p:nvSpPr>
              <p:cNvPr id="1310" name="Google Shape;845;p31">
                <a:extLst>
                  <a:ext uri="{FF2B5EF4-FFF2-40B4-BE49-F238E27FC236}">
                    <a16:creationId xmlns:a16="http://schemas.microsoft.com/office/drawing/2014/main" id="{D378CAD5-17D3-61F1-3D93-B40FF1459A58}"/>
                  </a:ext>
                </a:extLst>
              </p:cNvPr>
              <p:cNvSpPr txBox="1"/>
              <p:nvPr/>
            </p:nvSpPr>
            <p:spPr>
              <a:xfrm>
                <a:off x="9169047" y="5401261"/>
                <a:ext cx="3240600" cy="3375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700" dirty="0">
                    <a:solidFill>
                      <a:srgbClr val="434343"/>
                    </a:solidFill>
                    <a:latin typeface="Fira Sans Extra Condensed Medium"/>
                    <a:ea typeface="Fira Sans Extra Condensed Medium"/>
                    <a:cs typeface="Fira Sans Extra Condensed Medium"/>
                    <a:sym typeface="Fira Sans Extra Condensed Medium"/>
                  </a:rPr>
                  <a:t>OPPORTUNITIES</a:t>
                </a:r>
                <a:endParaRPr sz="700" dirty="0">
                  <a:solidFill>
                    <a:srgbClr val="434343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endParaRPr>
              </a:p>
            </p:txBody>
          </p:sp>
          <p:sp>
            <p:nvSpPr>
              <p:cNvPr id="1311" name="Google Shape;846;p31">
                <a:extLst>
                  <a:ext uri="{FF2B5EF4-FFF2-40B4-BE49-F238E27FC236}">
                    <a16:creationId xmlns:a16="http://schemas.microsoft.com/office/drawing/2014/main" id="{FBDC5036-E8BD-55F2-829E-351EB057F62C}"/>
                  </a:ext>
                </a:extLst>
              </p:cNvPr>
              <p:cNvSpPr txBox="1"/>
              <p:nvPr/>
            </p:nvSpPr>
            <p:spPr>
              <a:xfrm>
                <a:off x="9055216" y="5626905"/>
                <a:ext cx="4394742" cy="49371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700" dirty="0">
                    <a:solidFill>
                      <a:srgbClr val="434343"/>
                    </a:solidFill>
                    <a:latin typeface="Roboto"/>
                    <a:ea typeface="Roboto"/>
                    <a:cs typeface="Roboto"/>
                    <a:sym typeface="Roboto"/>
                  </a:rPr>
                  <a:t>Growth of medical tourism expected at 14% CAGR</a:t>
                </a:r>
              </a:p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IN" sz="700" dirty="0">
                    <a:solidFill>
                      <a:srgbClr val="434343"/>
                    </a:solidFill>
                    <a:latin typeface="Roboto"/>
                    <a:ea typeface="Roboto"/>
                    <a:cs typeface="Roboto"/>
                    <a:sym typeface="Roboto"/>
                  </a:rPr>
                  <a:t>Synergies from Ayushman Bharat mission </a:t>
                </a:r>
                <a:endParaRPr sz="700" dirty="0">
                  <a:solidFill>
                    <a:srgbClr val="434343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</p:grpSp>
        <p:sp>
          <p:nvSpPr>
            <p:cNvPr id="1308" name="Google Shape;847;p31">
              <a:extLst>
                <a:ext uri="{FF2B5EF4-FFF2-40B4-BE49-F238E27FC236}">
                  <a16:creationId xmlns:a16="http://schemas.microsoft.com/office/drawing/2014/main" id="{C18E5215-BCA0-6E93-FFE7-E4E2A67BD6F9}"/>
                </a:ext>
              </a:extLst>
            </p:cNvPr>
            <p:cNvSpPr/>
            <p:nvPr/>
          </p:nvSpPr>
          <p:spPr>
            <a:xfrm>
              <a:off x="6659013" y="1217550"/>
              <a:ext cx="786300" cy="7863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" sz="700" dirty="0">
                  <a:solidFill>
                    <a:srgbClr val="FFFFFF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O</a:t>
              </a:r>
              <a:endParaRPr sz="700" dirty="0"/>
            </a:p>
          </p:txBody>
        </p:sp>
        <p:sp>
          <p:nvSpPr>
            <p:cNvPr id="1309" name="Google Shape;848;p31">
              <a:extLst>
                <a:ext uri="{FF2B5EF4-FFF2-40B4-BE49-F238E27FC236}">
                  <a16:creationId xmlns:a16="http://schemas.microsoft.com/office/drawing/2014/main" id="{56858995-F3EC-33AE-CF61-1FC41950A626}"/>
                </a:ext>
              </a:extLst>
            </p:cNvPr>
            <p:cNvSpPr/>
            <p:nvPr/>
          </p:nvSpPr>
          <p:spPr>
            <a:xfrm>
              <a:off x="1779688" y="1276200"/>
              <a:ext cx="669000" cy="669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dirty="0"/>
            </a:p>
          </p:txBody>
        </p:sp>
      </p:grpSp>
      <p:grpSp>
        <p:nvGrpSpPr>
          <p:cNvPr id="1312" name="Google Shape;842;p31">
            <a:extLst>
              <a:ext uri="{FF2B5EF4-FFF2-40B4-BE49-F238E27FC236}">
                <a16:creationId xmlns:a16="http://schemas.microsoft.com/office/drawing/2014/main" id="{AF7AB940-9628-C2B3-ACE4-EA72C474391E}"/>
              </a:ext>
            </a:extLst>
          </p:cNvPr>
          <p:cNvGrpSpPr/>
          <p:nvPr/>
        </p:nvGrpSpPr>
        <p:grpSpPr>
          <a:xfrm>
            <a:off x="6229681" y="3514402"/>
            <a:ext cx="2854642" cy="401776"/>
            <a:chOff x="1698738" y="1213010"/>
            <a:chExt cx="5746575" cy="790864"/>
          </a:xfrm>
        </p:grpSpPr>
        <p:sp>
          <p:nvSpPr>
            <p:cNvPr id="1313" name="Google Shape;843;p31">
              <a:extLst>
                <a:ext uri="{FF2B5EF4-FFF2-40B4-BE49-F238E27FC236}">
                  <a16:creationId xmlns:a16="http://schemas.microsoft.com/office/drawing/2014/main" id="{FBC546E9-C842-0068-73C7-4AB468AC295C}"/>
                </a:ext>
              </a:extLst>
            </p:cNvPr>
            <p:cNvSpPr/>
            <p:nvPr/>
          </p:nvSpPr>
          <p:spPr>
            <a:xfrm rot="16200000">
              <a:off x="3856939" y="-939126"/>
              <a:ext cx="784799" cy="510120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dirty="0"/>
            </a:p>
          </p:txBody>
        </p:sp>
        <p:sp>
          <p:nvSpPr>
            <p:cNvPr id="1317" name="Google Shape;845;p31">
              <a:extLst>
                <a:ext uri="{FF2B5EF4-FFF2-40B4-BE49-F238E27FC236}">
                  <a16:creationId xmlns:a16="http://schemas.microsoft.com/office/drawing/2014/main" id="{B900EDC5-EB6D-0D84-9694-E8D1EE2DA6D4}"/>
                </a:ext>
              </a:extLst>
            </p:cNvPr>
            <p:cNvSpPr txBox="1"/>
            <p:nvPr/>
          </p:nvSpPr>
          <p:spPr>
            <a:xfrm>
              <a:off x="2486148" y="1213010"/>
              <a:ext cx="3240601" cy="3374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700" dirty="0">
                  <a:solidFill>
                    <a:srgbClr val="434343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WEAKNESS</a:t>
              </a:r>
              <a:endParaRPr sz="700" dirty="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1315" name="Google Shape;847;p31">
              <a:extLst>
                <a:ext uri="{FF2B5EF4-FFF2-40B4-BE49-F238E27FC236}">
                  <a16:creationId xmlns:a16="http://schemas.microsoft.com/office/drawing/2014/main" id="{DD55B01C-1056-FDEB-29BB-B530F05BC2BD}"/>
                </a:ext>
              </a:extLst>
            </p:cNvPr>
            <p:cNvSpPr/>
            <p:nvPr/>
          </p:nvSpPr>
          <p:spPr>
            <a:xfrm>
              <a:off x="6659013" y="1217550"/>
              <a:ext cx="786300" cy="7863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" sz="900" dirty="0">
                  <a:solidFill>
                    <a:srgbClr val="FFFFFF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W</a:t>
              </a:r>
              <a:endParaRPr sz="700" dirty="0"/>
            </a:p>
          </p:txBody>
        </p:sp>
        <p:sp>
          <p:nvSpPr>
            <p:cNvPr id="1316" name="Google Shape;848;p31">
              <a:extLst>
                <a:ext uri="{FF2B5EF4-FFF2-40B4-BE49-F238E27FC236}">
                  <a16:creationId xmlns:a16="http://schemas.microsoft.com/office/drawing/2014/main" id="{09690116-FD88-DDA9-7C10-88F859AAA721}"/>
                </a:ext>
              </a:extLst>
            </p:cNvPr>
            <p:cNvSpPr/>
            <p:nvPr/>
          </p:nvSpPr>
          <p:spPr>
            <a:xfrm>
              <a:off x="1779688" y="1276200"/>
              <a:ext cx="669000" cy="669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/>
            </a:p>
          </p:txBody>
        </p:sp>
      </p:grpSp>
      <p:grpSp>
        <p:nvGrpSpPr>
          <p:cNvPr id="1319" name="Google Shape;842;p31">
            <a:extLst>
              <a:ext uri="{FF2B5EF4-FFF2-40B4-BE49-F238E27FC236}">
                <a16:creationId xmlns:a16="http://schemas.microsoft.com/office/drawing/2014/main" id="{8AE64F53-447B-47E4-0E54-262FA1FD05D3}"/>
              </a:ext>
            </a:extLst>
          </p:cNvPr>
          <p:cNvGrpSpPr/>
          <p:nvPr/>
        </p:nvGrpSpPr>
        <p:grpSpPr>
          <a:xfrm>
            <a:off x="6229681" y="4427492"/>
            <a:ext cx="2854642" cy="401776"/>
            <a:chOff x="1698738" y="1213010"/>
            <a:chExt cx="5746575" cy="790864"/>
          </a:xfrm>
        </p:grpSpPr>
        <p:sp>
          <p:nvSpPr>
            <p:cNvPr id="1320" name="Google Shape;843;p31">
              <a:extLst>
                <a:ext uri="{FF2B5EF4-FFF2-40B4-BE49-F238E27FC236}">
                  <a16:creationId xmlns:a16="http://schemas.microsoft.com/office/drawing/2014/main" id="{337DAF1F-BD5E-16A1-F563-115B5A7E1B38}"/>
                </a:ext>
              </a:extLst>
            </p:cNvPr>
            <p:cNvSpPr/>
            <p:nvPr/>
          </p:nvSpPr>
          <p:spPr>
            <a:xfrm rot="16200000">
              <a:off x="3856939" y="-939126"/>
              <a:ext cx="784799" cy="510120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dirty="0"/>
            </a:p>
          </p:txBody>
        </p:sp>
        <p:sp>
          <p:nvSpPr>
            <p:cNvPr id="1324" name="Google Shape;845;p31">
              <a:extLst>
                <a:ext uri="{FF2B5EF4-FFF2-40B4-BE49-F238E27FC236}">
                  <a16:creationId xmlns:a16="http://schemas.microsoft.com/office/drawing/2014/main" id="{8E6EEB00-3360-CAA4-B0FF-B36755BE2890}"/>
                </a:ext>
              </a:extLst>
            </p:cNvPr>
            <p:cNvSpPr txBox="1"/>
            <p:nvPr/>
          </p:nvSpPr>
          <p:spPr>
            <a:xfrm>
              <a:off x="2486148" y="1213010"/>
              <a:ext cx="3240599" cy="3375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700" dirty="0">
                  <a:solidFill>
                    <a:srgbClr val="434343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THREATS</a:t>
              </a:r>
              <a:endParaRPr sz="700" dirty="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1322" name="Google Shape;847;p31">
              <a:extLst>
                <a:ext uri="{FF2B5EF4-FFF2-40B4-BE49-F238E27FC236}">
                  <a16:creationId xmlns:a16="http://schemas.microsoft.com/office/drawing/2014/main" id="{798CE279-DEDD-ED3A-5F60-DA6FCA716CFC}"/>
                </a:ext>
              </a:extLst>
            </p:cNvPr>
            <p:cNvSpPr/>
            <p:nvPr/>
          </p:nvSpPr>
          <p:spPr>
            <a:xfrm>
              <a:off x="6659013" y="1217550"/>
              <a:ext cx="786300" cy="7863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" sz="900" dirty="0">
                  <a:solidFill>
                    <a:srgbClr val="FFFFFF"/>
                  </a:solidFill>
                  <a:latin typeface="Fira Sans Extra Condensed Medium"/>
                  <a:ea typeface="Fira Sans Extra Condensed Medium"/>
                  <a:cs typeface="Fira Sans Extra Condensed Medium"/>
                  <a:sym typeface="Fira Sans Extra Condensed Medium"/>
                </a:rPr>
                <a:t>T</a:t>
              </a:r>
              <a:endParaRPr sz="900" dirty="0"/>
            </a:p>
          </p:txBody>
        </p:sp>
        <p:sp>
          <p:nvSpPr>
            <p:cNvPr id="1323" name="Google Shape;848;p31">
              <a:extLst>
                <a:ext uri="{FF2B5EF4-FFF2-40B4-BE49-F238E27FC236}">
                  <a16:creationId xmlns:a16="http://schemas.microsoft.com/office/drawing/2014/main" id="{D1D9C817-4AD4-BC59-F536-F8DE19FFE3BB}"/>
                </a:ext>
              </a:extLst>
            </p:cNvPr>
            <p:cNvSpPr/>
            <p:nvPr/>
          </p:nvSpPr>
          <p:spPr>
            <a:xfrm>
              <a:off x="1779688" y="1276200"/>
              <a:ext cx="669000" cy="669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dirty="0"/>
            </a:p>
          </p:txBody>
        </p:sp>
      </p:grpSp>
      <p:pic>
        <p:nvPicPr>
          <p:cNvPr id="1327" name="Picture 1326">
            <a:extLst>
              <a:ext uri="{FF2B5EF4-FFF2-40B4-BE49-F238E27FC236}">
                <a16:creationId xmlns:a16="http://schemas.microsoft.com/office/drawing/2014/main" id="{E79B54AF-BC95-81F6-38A5-0C1B78CF6C50}"/>
              </a:ext>
            </a:extLst>
          </p:cNvPr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6293921" y="3110211"/>
            <a:ext cx="278323" cy="278323"/>
          </a:xfrm>
          <a:prstGeom prst="rect">
            <a:avLst/>
          </a:prstGeom>
        </p:spPr>
      </p:pic>
      <p:pic>
        <p:nvPicPr>
          <p:cNvPr id="1329" name="Picture 1328">
            <a:extLst>
              <a:ext uri="{FF2B5EF4-FFF2-40B4-BE49-F238E27FC236}">
                <a16:creationId xmlns:a16="http://schemas.microsoft.com/office/drawing/2014/main" id="{F736D418-6C33-AE0F-F4ED-4A26A55523CB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6325636" y="3608855"/>
            <a:ext cx="228462" cy="228462"/>
          </a:xfrm>
          <a:prstGeom prst="rect">
            <a:avLst/>
          </a:prstGeom>
        </p:spPr>
      </p:pic>
      <p:pic>
        <p:nvPicPr>
          <p:cNvPr id="1331" name="Picture 1330">
            <a:extLst>
              <a:ext uri="{FF2B5EF4-FFF2-40B4-BE49-F238E27FC236}">
                <a16:creationId xmlns:a16="http://schemas.microsoft.com/office/drawing/2014/main" id="{0DAC2FEB-7290-C631-4E5B-0D821301657E}"/>
              </a:ext>
            </a:extLst>
          </p:cNvPr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6303652" y="4046405"/>
            <a:ext cx="268592" cy="268592"/>
          </a:xfrm>
          <a:prstGeom prst="rect">
            <a:avLst/>
          </a:prstGeom>
        </p:spPr>
      </p:pic>
      <p:pic>
        <p:nvPicPr>
          <p:cNvPr id="1335" name="Picture 1334">
            <a:extLst>
              <a:ext uri="{FF2B5EF4-FFF2-40B4-BE49-F238E27FC236}">
                <a16:creationId xmlns:a16="http://schemas.microsoft.com/office/drawing/2014/main" id="{0C448568-D647-3AFD-83DF-2BE13933C84C}"/>
              </a:ext>
            </a:extLst>
          </p:cNvPr>
          <p:cNvPicPr>
            <a:picLocks noChangeAspect="1"/>
          </p:cNvPicPr>
          <p:nvPr/>
        </p:nvPicPr>
        <p:blipFill>
          <a:blip r:embed="rId61"/>
          <a:stretch>
            <a:fillRect/>
          </a:stretch>
        </p:blipFill>
        <p:spPr>
          <a:xfrm flipH="1">
            <a:off x="6320053" y="4498409"/>
            <a:ext cx="230832" cy="230832"/>
          </a:xfrm>
          <a:prstGeom prst="rect">
            <a:avLst/>
          </a:prstGeom>
        </p:spPr>
      </p:pic>
      <p:sp>
        <p:nvSpPr>
          <p:cNvPr id="1336" name="Google Shape;846;p31">
            <a:extLst>
              <a:ext uri="{FF2B5EF4-FFF2-40B4-BE49-F238E27FC236}">
                <a16:creationId xmlns:a16="http://schemas.microsoft.com/office/drawing/2014/main" id="{AF186C0B-75C0-AA12-75E9-D17904E30361}"/>
              </a:ext>
            </a:extLst>
          </p:cNvPr>
          <p:cNvSpPr txBox="1"/>
          <p:nvPr/>
        </p:nvSpPr>
        <p:spPr>
          <a:xfrm>
            <a:off x="6555590" y="3638524"/>
            <a:ext cx="2183112" cy="250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700" dirty="0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Lack of infrastructure and skilled manpow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700" dirty="0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Public expenditure on healthcare ~ 2.2% of GDP</a:t>
            </a:r>
            <a:endParaRPr sz="700" dirty="0">
              <a:solidFill>
                <a:srgbClr val="434343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342" name="Google Shape;846;p31">
            <a:extLst>
              <a:ext uri="{FF2B5EF4-FFF2-40B4-BE49-F238E27FC236}">
                <a16:creationId xmlns:a16="http://schemas.microsoft.com/office/drawing/2014/main" id="{C669D64A-9894-97EB-18C1-611E07922642}"/>
              </a:ext>
            </a:extLst>
          </p:cNvPr>
          <p:cNvSpPr txBox="1"/>
          <p:nvPr/>
        </p:nvSpPr>
        <p:spPr>
          <a:xfrm>
            <a:off x="6569862" y="3181918"/>
            <a:ext cx="2183112" cy="250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700" dirty="0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Cost competitiveness; streamlined supplier chain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700" dirty="0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Medical innovations driven by private hospitals</a:t>
            </a:r>
            <a:endParaRPr sz="700" dirty="0">
              <a:solidFill>
                <a:srgbClr val="434343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343" name="Google Shape;846;p31">
            <a:extLst>
              <a:ext uri="{FF2B5EF4-FFF2-40B4-BE49-F238E27FC236}">
                <a16:creationId xmlns:a16="http://schemas.microsoft.com/office/drawing/2014/main" id="{78F8E572-A35B-581D-9620-64C4476C178E}"/>
              </a:ext>
            </a:extLst>
          </p:cNvPr>
          <p:cNvSpPr txBox="1"/>
          <p:nvPr/>
        </p:nvSpPr>
        <p:spPr>
          <a:xfrm>
            <a:off x="6568996" y="4550088"/>
            <a:ext cx="2183112" cy="250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700" dirty="0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High receivable days inhibit capital expenditur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700" dirty="0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rPr>
              <a:t>Govt regulations reducing operational autonomy</a:t>
            </a:r>
            <a:endParaRPr sz="700" dirty="0">
              <a:solidFill>
                <a:srgbClr val="434343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0921644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C9836B9-73EB-E5F1-DE87-0E9C2F784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4489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71" imgH="473" progId="TCLayout.ActiveDocument.1">
                  <p:embed/>
                </p:oleObj>
              </mc:Choice>
              <mc:Fallback>
                <p:oleObj name="think-cell Slide" r:id="rId37" imgW="471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836B9-73EB-E5F1-DE87-0E9C2F784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Google Shape;196;p23"/>
          <p:cNvSpPr txBox="1"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453150" y="57599"/>
            <a:ext cx="8237700" cy="28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Company Overview</a:t>
            </a:r>
            <a:endParaRPr dirty="0"/>
          </a:p>
        </p:txBody>
      </p:sp>
      <p:cxnSp>
        <p:nvCxnSpPr>
          <p:cNvPr id="1120" name="Straight Connector 1119">
            <a:extLst>
              <a:ext uri="{FF2B5EF4-FFF2-40B4-BE49-F238E27FC236}">
                <a16:creationId xmlns:a16="http://schemas.microsoft.com/office/drawing/2014/main" id="{EF4F6817-1C49-8ACF-A6FF-350E93ECF197}"/>
              </a:ext>
            </a:extLst>
          </p:cNvPr>
          <p:cNvCxnSpPr/>
          <p:nvPr/>
        </p:nvCxnSpPr>
        <p:spPr>
          <a:xfrm>
            <a:off x="-1" y="4912668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1" name="TextBox 1120">
            <a:extLst>
              <a:ext uri="{FF2B5EF4-FFF2-40B4-BE49-F238E27FC236}">
                <a16:creationId xmlns:a16="http://schemas.microsoft.com/office/drawing/2014/main" id="{AE487B77-0812-D495-2763-E3EAAF0D9347}"/>
              </a:ext>
            </a:extLst>
          </p:cNvPr>
          <p:cNvSpPr txBox="1"/>
          <p:nvPr/>
        </p:nvSpPr>
        <p:spPr>
          <a:xfrm>
            <a:off x="-1" y="4912668"/>
            <a:ext cx="89514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rce – Annual Report FY 23-24, Corporate Presentation FY24, Bloomberg, Screener</a:t>
            </a:r>
          </a:p>
        </p:txBody>
      </p:sp>
      <p:pic>
        <p:nvPicPr>
          <p:cNvPr id="1124" name="Picture 1123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2744C195-5DC2-9E4E-F9BE-3E97E2F1F71A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8329783" y="20220"/>
            <a:ext cx="722134" cy="32219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2CFD224-B0B4-9B5B-215F-6F7D377EA9AE}"/>
              </a:ext>
            </a:extLst>
          </p:cNvPr>
          <p:cNvSpPr/>
          <p:nvPr/>
        </p:nvSpPr>
        <p:spPr>
          <a:xfrm>
            <a:off x="6035256" y="464908"/>
            <a:ext cx="2916238" cy="149217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Financial Snapsho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4CFE97-61C9-903B-A62A-AD600B8D597F}"/>
              </a:ext>
            </a:extLst>
          </p:cNvPr>
          <p:cNvSpPr txBox="1"/>
          <p:nvPr/>
        </p:nvSpPr>
        <p:spPr>
          <a:xfrm>
            <a:off x="192506" y="642378"/>
            <a:ext cx="2790825" cy="1900927"/>
          </a:xfrm>
          <a:prstGeom prst="rect">
            <a:avLst/>
          </a:prstGeom>
          <a:noFill/>
          <a:ln w="12700">
            <a:solidFill>
              <a:schemeClr val="tx1"/>
            </a:solidFill>
            <a:prstDash val="lgDash"/>
          </a:ln>
        </p:spPr>
        <p:txBody>
          <a:bodyPr wrap="square" rtlCol="0">
            <a:noAutofit/>
          </a:bodyPr>
          <a:lstStyle/>
          <a:p>
            <a:pPr marL="228600" lvl="3" indent="-228600">
              <a:buFont typeface="+mj-lt"/>
              <a:buAutoNum type="arabicPeriod"/>
            </a:pPr>
            <a:r>
              <a:rPr lang="en-IN" sz="800" dirty="0"/>
              <a:t>Set up in 2000, has grown to 12 speciality and super-speciality hospitals spread across Telangana, Andhra Pradesh and Maharashtra, with planned entry into Karnataka.</a:t>
            </a:r>
            <a:br>
              <a:rPr lang="en-IN" sz="800" dirty="0"/>
            </a:br>
            <a:endParaRPr lang="en-IN" sz="100" dirty="0"/>
          </a:p>
          <a:p>
            <a:pPr marL="228600" lvl="3" indent="-228600">
              <a:buFont typeface="+mj-lt"/>
              <a:buAutoNum type="arabicPeriod"/>
            </a:pPr>
            <a:r>
              <a:rPr lang="en-IN" sz="800" dirty="0"/>
              <a:t>Pioneer in introducing several medical procedures to India, including ECMO program and Trans catheter valve replacement procedure. </a:t>
            </a:r>
            <a:br>
              <a:rPr lang="en-IN" sz="800" dirty="0"/>
            </a:br>
            <a:endParaRPr lang="en-IN" sz="100" dirty="0"/>
          </a:p>
          <a:p>
            <a:pPr marL="228600" lvl="3" indent="-228600">
              <a:buFont typeface="+mj-lt"/>
              <a:buAutoNum type="arabicPeriod"/>
            </a:pPr>
            <a:r>
              <a:rPr lang="en-IN" sz="800" dirty="0"/>
              <a:t>Strengths across transplants, surgery, nephrology, neurology, cardiology, urology and neonatal care.</a:t>
            </a:r>
            <a:br>
              <a:rPr lang="en-IN" sz="800" dirty="0"/>
            </a:br>
            <a:endParaRPr lang="en-IN" sz="100" dirty="0"/>
          </a:p>
          <a:p>
            <a:pPr marL="228600" lvl="3" indent="-228600">
              <a:buFont typeface="+mj-lt"/>
              <a:buAutoNum type="arabicPeriod"/>
            </a:pPr>
            <a:r>
              <a:rPr lang="en-IN" sz="800" dirty="0"/>
              <a:t>Digitalised operational and clinical workflows through use of EHR application and data analytics.</a:t>
            </a:r>
            <a:br>
              <a:rPr lang="en-IN" sz="800" dirty="0"/>
            </a:br>
            <a:endParaRPr lang="en-IN" sz="100" dirty="0"/>
          </a:p>
          <a:p>
            <a:pPr marL="228600" lvl="3" indent="-228600">
              <a:buFont typeface="+mj-lt"/>
              <a:buAutoNum type="arabicPeriod"/>
            </a:pPr>
            <a:r>
              <a:rPr lang="en-IN" sz="800" dirty="0"/>
              <a:t>Plan to invest INR 500 to add 1,000 beds in India and GCC countries in the next three years, both organically and non-organically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EC0E9C5-9392-0674-023B-7741FCA43E82}"/>
              </a:ext>
            </a:extLst>
          </p:cNvPr>
          <p:cNvSpPr/>
          <p:nvPr/>
        </p:nvSpPr>
        <p:spPr>
          <a:xfrm>
            <a:off x="160597" y="465588"/>
            <a:ext cx="2854642" cy="149219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About the compan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1643B92-1CDB-7328-CD3A-CCE5661DBFFD}"/>
              </a:ext>
            </a:extLst>
          </p:cNvPr>
          <p:cNvSpPr/>
          <p:nvPr/>
        </p:nvSpPr>
        <p:spPr>
          <a:xfrm>
            <a:off x="3010777" y="4322522"/>
            <a:ext cx="1482597" cy="486610"/>
          </a:xfrm>
          <a:prstGeom prst="rect">
            <a:avLst/>
          </a:prstGeom>
          <a:solidFill>
            <a:schemeClr val="bg1"/>
          </a:solidFill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B51F02-BC17-88E1-6304-422ADD6868E5}"/>
              </a:ext>
            </a:extLst>
          </p:cNvPr>
          <p:cNvSpPr/>
          <p:nvPr/>
        </p:nvSpPr>
        <p:spPr>
          <a:xfrm>
            <a:off x="3005290" y="3789498"/>
            <a:ext cx="1482597" cy="486610"/>
          </a:xfrm>
          <a:prstGeom prst="rect">
            <a:avLst/>
          </a:prstGeom>
          <a:solidFill>
            <a:schemeClr val="bg1"/>
          </a:solidFill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6BBE87-4815-0F38-72BD-D03AC507534E}"/>
              </a:ext>
            </a:extLst>
          </p:cNvPr>
          <p:cNvSpPr/>
          <p:nvPr/>
        </p:nvSpPr>
        <p:spPr>
          <a:xfrm>
            <a:off x="4532181" y="3788084"/>
            <a:ext cx="1482597" cy="486610"/>
          </a:xfrm>
          <a:prstGeom prst="rect">
            <a:avLst/>
          </a:prstGeom>
          <a:solidFill>
            <a:schemeClr val="bg1"/>
          </a:solidFill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E5FB13-52A5-0500-8DBB-98A25922CE17}"/>
              </a:ext>
            </a:extLst>
          </p:cNvPr>
          <p:cNvSpPr/>
          <p:nvPr/>
        </p:nvSpPr>
        <p:spPr>
          <a:xfrm>
            <a:off x="4537361" y="4322522"/>
            <a:ext cx="1482597" cy="486610"/>
          </a:xfrm>
          <a:prstGeom prst="rect">
            <a:avLst/>
          </a:prstGeom>
          <a:solidFill>
            <a:schemeClr val="bg1"/>
          </a:solidFill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98A2952-19EF-2197-26A1-FF03CBA97882}"/>
              </a:ext>
            </a:extLst>
          </p:cNvPr>
          <p:cNvSpPr txBox="1"/>
          <p:nvPr/>
        </p:nvSpPr>
        <p:spPr>
          <a:xfrm>
            <a:off x="2963341" y="4365772"/>
            <a:ext cx="15774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17.34% CAGR growth in total revenue (5 year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19698E-2459-0F06-7AAD-9829B36D3408}"/>
              </a:ext>
            </a:extLst>
          </p:cNvPr>
          <p:cNvSpPr txBox="1"/>
          <p:nvPr/>
        </p:nvSpPr>
        <p:spPr>
          <a:xfrm>
            <a:off x="2957854" y="3817360"/>
            <a:ext cx="15774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20.89% CAGR growth in EBITDA (5 year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3B0A94-51A6-F37F-C8B7-8B7735D435F0}"/>
              </a:ext>
            </a:extLst>
          </p:cNvPr>
          <p:cNvSpPr txBox="1"/>
          <p:nvPr/>
        </p:nvSpPr>
        <p:spPr>
          <a:xfrm>
            <a:off x="4485493" y="4350384"/>
            <a:ext cx="15774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51.5% growth in EPS </a:t>
            </a:r>
          </a:p>
          <a:p>
            <a:pPr algn="ctr"/>
            <a:r>
              <a:rPr lang="en-IN" sz="1000" dirty="0"/>
              <a:t>(5 year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E248A1-0074-CC4B-8FFF-2BDD69EBDBFD}"/>
              </a:ext>
            </a:extLst>
          </p:cNvPr>
          <p:cNvSpPr/>
          <p:nvPr/>
        </p:nvSpPr>
        <p:spPr>
          <a:xfrm>
            <a:off x="3067128" y="464907"/>
            <a:ext cx="2916238" cy="149219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Non – Financial Snapsho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C6C320B-7584-5BDB-5652-A93E007D4C38}"/>
              </a:ext>
            </a:extLst>
          </p:cNvPr>
          <p:cNvSpPr/>
          <p:nvPr/>
        </p:nvSpPr>
        <p:spPr>
          <a:xfrm>
            <a:off x="160597" y="2593351"/>
            <a:ext cx="2854642" cy="149219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Shareholding Pattern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75AB4289-30CD-51CE-0330-477E61B082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931391"/>
              </p:ext>
            </p:extLst>
          </p:nvPr>
        </p:nvGraphicFramePr>
        <p:xfrm>
          <a:off x="101641" y="2746996"/>
          <a:ext cx="3200359" cy="1487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9B8C6037-1869-81F7-952A-4CF5DBBE4101}"/>
              </a:ext>
            </a:extLst>
          </p:cNvPr>
          <p:cNvSpPr txBox="1"/>
          <p:nvPr/>
        </p:nvSpPr>
        <p:spPr>
          <a:xfrm>
            <a:off x="4506170" y="3818116"/>
            <a:ext cx="15774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23.92% CAGR growth in PAT (5 year)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D81723CD-74B8-C01B-A386-94F365BAAB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0579626"/>
              </p:ext>
            </p:extLst>
          </p:nvPr>
        </p:nvGraphicFramePr>
        <p:xfrm>
          <a:off x="5939965" y="624699"/>
          <a:ext cx="3106820" cy="1839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C18C327C-9022-BD74-0152-92D39FEA0698}"/>
              </a:ext>
            </a:extLst>
          </p:cNvPr>
          <p:cNvSpPr/>
          <p:nvPr/>
        </p:nvSpPr>
        <p:spPr>
          <a:xfrm>
            <a:off x="6209671" y="2415712"/>
            <a:ext cx="1110385" cy="247327"/>
          </a:xfrm>
          <a:prstGeom prst="rect">
            <a:avLst/>
          </a:prstGeom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800" dirty="0">
                <a:solidFill>
                  <a:schemeClr val="tx1"/>
                </a:solidFill>
              </a:rPr>
              <a:t>Mkt</a:t>
            </a:r>
          </a:p>
          <a:p>
            <a:r>
              <a:rPr lang="en-IN" sz="800" dirty="0">
                <a:solidFill>
                  <a:schemeClr val="tx1"/>
                </a:solidFill>
              </a:rPr>
              <a:t>Cap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5868BEC-CF17-F4D3-328E-6106BF4D09AF}"/>
              </a:ext>
            </a:extLst>
          </p:cNvPr>
          <p:cNvSpPr/>
          <p:nvPr/>
        </p:nvSpPr>
        <p:spPr>
          <a:xfrm>
            <a:off x="7685544" y="2413046"/>
            <a:ext cx="1110385" cy="247327"/>
          </a:xfrm>
          <a:prstGeom prst="rect">
            <a:avLst/>
          </a:prstGeom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800" dirty="0">
                <a:solidFill>
                  <a:schemeClr val="tx1"/>
                </a:solidFill>
              </a:rPr>
              <a:t>P/B</a:t>
            </a:r>
          </a:p>
          <a:p>
            <a:r>
              <a:rPr lang="en-IN" sz="800" dirty="0">
                <a:solidFill>
                  <a:schemeClr val="tx1"/>
                </a:solidFill>
              </a:rPr>
              <a:t>Ratio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D2BB154-D034-362E-7813-F0CADA75B6FE}"/>
              </a:ext>
            </a:extLst>
          </p:cNvPr>
          <p:cNvSpPr/>
          <p:nvPr/>
        </p:nvSpPr>
        <p:spPr>
          <a:xfrm>
            <a:off x="6685590" y="2414504"/>
            <a:ext cx="695155" cy="24622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2,102 C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893C142-C205-ABDC-ED0D-A9BCFDD7A109}"/>
              </a:ext>
            </a:extLst>
          </p:cNvPr>
          <p:cNvSpPr/>
          <p:nvPr/>
        </p:nvSpPr>
        <p:spPr>
          <a:xfrm>
            <a:off x="8161462" y="2413046"/>
            <a:ext cx="695156" cy="24732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.09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51DE531-D112-2EBB-B823-6ABE4866B44B}"/>
              </a:ext>
            </a:extLst>
          </p:cNvPr>
          <p:cNvSpPr/>
          <p:nvPr/>
        </p:nvSpPr>
        <p:spPr>
          <a:xfrm>
            <a:off x="6171323" y="3631021"/>
            <a:ext cx="2790825" cy="156424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ESG Metric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9835669-8992-FE0F-6412-C806EDC76030}"/>
              </a:ext>
            </a:extLst>
          </p:cNvPr>
          <p:cNvSpPr txBox="1"/>
          <p:nvPr/>
        </p:nvSpPr>
        <p:spPr>
          <a:xfrm>
            <a:off x="6171323" y="3847518"/>
            <a:ext cx="2790825" cy="483447"/>
          </a:xfrm>
          <a:prstGeom prst="rect">
            <a:avLst/>
          </a:prstGeom>
          <a:noFill/>
          <a:ln w="12700">
            <a:solidFill>
              <a:schemeClr val="tx1"/>
            </a:solidFill>
            <a:prstDash val="lgDash"/>
          </a:ln>
        </p:spPr>
        <p:txBody>
          <a:bodyPr wrap="square" rtlCol="0">
            <a:noAutofit/>
          </a:bodyPr>
          <a:lstStyle/>
          <a:p>
            <a:pPr lvl="3"/>
            <a:r>
              <a:rPr lang="en-IN" sz="800" dirty="0"/>
              <a:t>Partnered with an ESCO (Smart Joules Pvt Ltd) to make zero capital investment to implement energy conservation measures (ECM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98EDB3-AC56-491B-E8B7-72D09DE5F866}"/>
              </a:ext>
            </a:extLst>
          </p:cNvPr>
          <p:cNvSpPr txBox="1"/>
          <p:nvPr/>
        </p:nvSpPr>
        <p:spPr>
          <a:xfrm>
            <a:off x="6160669" y="4389868"/>
            <a:ext cx="1052822" cy="483447"/>
          </a:xfrm>
          <a:prstGeom prst="rect">
            <a:avLst/>
          </a:prstGeom>
          <a:noFill/>
          <a:ln w="12700">
            <a:solidFill>
              <a:schemeClr val="tx1"/>
            </a:solidFill>
            <a:prstDash val="lgDash"/>
          </a:ln>
        </p:spPr>
        <p:txBody>
          <a:bodyPr wrap="square" rtlCol="0" anchor="ctr">
            <a:noAutofit/>
          </a:bodyPr>
          <a:lstStyle/>
          <a:p>
            <a:pPr lvl="3" algn="ctr"/>
            <a:r>
              <a:rPr lang="en-IN" sz="800" dirty="0"/>
              <a:t>7.1% savings in energy consump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99C86B-3CD6-06BF-18A2-4D890C41E900}"/>
              </a:ext>
            </a:extLst>
          </p:cNvPr>
          <p:cNvSpPr txBox="1"/>
          <p:nvPr/>
        </p:nvSpPr>
        <p:spPr>
          <a:xfrm>
            <a:off x="7277873" y="4389868"/>
            <a:ext cx="728419" cy="483447"/>
          </a:xfrm>
          <a:prstGeom prst="rect">
            <a:avLst/>
          </a:prstGeom>
          <a:noFill/>
          <a:ln w="12700">
            <a:solidFill>
              <a:schemeClr val="tx1"/>
            </a:solidFill>
            <a:prstDash val="lgDash"/>
          </a:ln>
        </p:spPr>
        <p:txBody>
          <a:bodyPr wrap="square" rtlCol="0" anchor="ctr">
            <a:noAutofit/>
          </a:bodyPr>
          <a:lstStyle/>
          <a:p>
            <a:pPr lvl="3" algn="ctr"/>
            <a:r>
              <a:rPr lang="en-IN" sz="800" dirty="0"/>
              <a:t>118 tonnes CO2 save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6B55F21-62BC-65F9-BF31-68D0CEE572BE}"/>
              </a:ext>
            </a:extLst>
          </p:cNvPr>
          <p:cNvSpPr txBox="1"/>
          <p:nvPr/>
        </p:nvSpPr>
        <p:spPr>
          <a:xfrm>
            <a:off x="8070675" y="4391038"/>
            <a:ext cx="880819" cy="483447"/>
          </a:xfrm>
          <a:prstGeom prst="rect">
            <a:avLst/>
          </a:prstGeom>
          <a:noFill/>
          <a:ln w="12700">
            <a:solidFill>
              <a:schemeClr val="tx1"/>
            </a:solidFill>
            <a:prstDash val="lgDash"/>
          </a:ln>
        </p:spPr>
        <p:txBody>
          <a:bodyPr wrap="square" rtlCol="0" anchor="ctr">
            <a:noAutofit/>
          </a:bodyPr>
          <a:lstStyle/>
          <a:p>
            <a:pPr lvl="3" algn="ctr"/>
            <a:r>
              <a:rPr lang="en-IN" sz="800" dirty="0"/>
              <a:t>INR 17.33 lakhs of energy cost saving</a:t>
            </a:r>
          </a:p>
        </p:txBody>
      </p:sp>
      <p:graphicFrame>
        <p:nvGraphicFramePr>
          <p:cNvPr id="237" name="Chart 236">
            <a:extLst>
              <a:ext uri="{FF2B5EF4-FFF2-40B4-BE49-F238E27FC236}">
                <a16:creationId xmlns:a16="http://schemas.microsoft.com/office/drawing/2014/main" id="{66F1215B-68EE-7C18-C189-E4C00A4171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234611"/>
              </p:ext>
            </p:extLst>
          </p:nvPr>
        </p:nvGraphicFramePr>
        <p:xfrm>
          <a:off x="2984500" y="788988"/>
          <a:ext cx="1560513" cy="1103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5BCC09E6-A43D-B959-D810-112D4D62BFD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763963" y="704850"/>
            <a:ext cx="0" cy="2063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156C1308-7AB1-BB91-3884-21197925205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763963" y="704850"/>
            <a:ext cx="465137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6EE1E4C7-CFDE-4716-87CA-85C616AB76D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29100" y="7048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Google Shape;7;p1">
            <a:extLst>
              <a:ext uri="{FF2B5EF4-FFF2-40B4-BE49-F238E27FC236}">
                <a16:creationId xmlns:a16="http://schemas.microsoft.com/office/drawing/2014/main" id="{38238E5A-120C-4140-CC7A-47A5D2573ABA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201988" y="1773238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97F8870-01D6-43C0-B3CC-A2C8B9FBB1B0}" type="datetime'''''''''F''''Y''''''''''22''''''''''''''''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2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0" name="Google Shape;7;p1">
            <a:extLst>
              <a:ext uri="{FF2B5EF4-FFF2-40B4-BE49-F238E27FC236}">
                <a16:creationId xmlns:a16="http://schemas.microsoft.com/office/drawing/2014/main" id="{D459AB14-B551-9FE0-8745-4517BD0EF7AA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667125" y="1773238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921A4D8-4692-4D64-8887-39E47D4F2C9C}" type="datetime'''''''''F''''''''''''''Y''''''''''''''''''''2''''3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3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Google Shape;7;p1">
            <a:extLst>
              <a:ext uri="{FF2B5EF4-FFF2-40B4-BE49-F238E27FC236}">
                <a16:creationId xmlns:a16="http://schemas.microsoft.com/office/drawing/2014/main" id="{5AB6C34D-7136-2E55-B7E4-0B1C53642C35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132263" y="1773238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6ACD42E-6FF5-4026-98E3-DC30387B1799}" type="datetime'''''''''F''''''''''''''Y''''''24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4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9" name="Google Shape;7;p1">
            <a:extLst>
              <a:ext uri="{FF2B5EF4-FFF2-40B4-BE49-F238E27FC236}">
                <a16:creationId xmlns:a16="http://schemas.microsoft.com/office/drawing/2014/main" id="{D92C3206-0229-5775-657A-D7F017BC6C38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886200" y="639763"/>
            <a:ext cx="220663" cy="131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C18C04-E184-427D-9F7A-1EF52E943B0D}" type="datetime'''+''''''''''''''8%'''''''''''''''''''''''''''''''''''''''''''">
              <a:rPr lang="en-IN" altLang="en-US" sz="6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8%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0B7848B4-682C-A140-FDC9-F6EF39BD8EEA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76789890"/>
              </p:ext>
            </p:extLst>
          </p:nvPr>
        </p:nvGraphicFramePr>
        <p:xfrm>
          <a:off x="4427538" y="846138"/>
          <a:ext cx="1560512" cy="1046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09413C12-4B26-1286-C617-E194F69770A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5207000" y="762001"/>
            <a:ext cx="0" cy="1698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DA445EB3-1828-CD95-F230-BEC685371B4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206999" y="762000"/>
            <a:ext cx="4651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1" name="Straight Connector 240">
            <a:extLst>
              <a:ext uri="{FF2B5EF4-FFF2-40B4-BE49-F238E27FC236}">
                <a16:creationId xmlns:a16="http://schemas.microsoft.com/office/drawing/2014/main" id="{719411F3-7C61-4B05-1DA5-B9894EFABF6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672138" y="7620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2" name="Google Shape;7;p1">
            <a:extLst>
              <a:ext uri="{FF2B5EF4-FFF2-40B4-BE49-F238E27FC236}">
                <a16:creationId xmlns:a16="http://schemas.microsoft.com/office/drawing/2014/main" id="{D6F8443B-BCEE-61DE-D47B-5C48F0E34765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645025" y="1773238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F2E624D-3F5B-490F-90B6-144B254EE3A5}" type="datetime'''''''''''''''''''F''''''Y2''''''''''''''''''''''''2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2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3" name="Google Shape;7;p1">
            <a:extLst>
              <a:ext uri="{FF2B5EF4-FFF2-40B4-BE49-F238E27FC236}">
                <a16:creationId xmlns:a16="http://schemas.microsoft.com/office/drawing/2014/main" id="{317AFC5E-5BC5-1647-50AB-F7533BB88FB5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10163" y="1773238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095BB17-479F-48B9-BC0B-02E899F07FC5}" type="datetime'''''''''''''''''''''''''''''''''''''''''F''''Y''''23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3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4" name="Google Shape;7;p1">
            <a:extLst>
              <a:ext uri="{FF2B5EF4-FFF2-40B4-BE49-F238E27FC236}">
                <a16:creationId xmlns:a16="http://schemas.microsoft.com/office/drawing/2014/main" id="{E0CE22CB-82FE-1882-7BE5-FA9B429F28E4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575300" y="1773238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72E5E90-D433-4CB7-9130-242F8B5493F9}" type="datetime'''''''''''''''''''''''''''''''''''F''''''Y''''''24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4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Google Shape;7;p1">
            <a:extLst>
              <a:ext uri="{FF2B5EF4-FFF2-40B4-BE49-F238E27FC236}">
                <a16:creationId xmlns:a16="http://schemas.microsoft.com/office/drawing/2014/main" id="{52B89A06-A7F6-C883-0E61-F7DF7430EC9B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703763" y="895350"/>
            <a:ext cx="77788" cy="82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1113" tIns="0" rIns="11113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altLang="en-US" sz="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endParaRPr lang="en-IN" sz="6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5" name="Google Shape;7;p1">
            <a:extLst>
              <a:ext uri="{FF2B5EF4-FFF2-40B4-BE49-F238E27FC236}">
                <a16:creationId xmlns:a16="http://schemas.microsoft.com/office/drawing/2014/main" id="{D4C81FD8-0CA6-3322-1564-699ED3ED458C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329238" y="696913"/>
            <a:ext cx="220663" cy="131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BE06AC5-35E7-4960-A3C8-46DE3993277E}" type="datetime'+''''''''''''3''%'''''''''''''''''''''''''''''''''''">
              <a:rPr lang="en-IN" altLang="en-US" sz="6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/>
              <a:t>+3%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455" name="Chart 454">
            <a:extLst>
              <a:ext uri="{FF2B5EF4-FFF2-40B4-BE49-F238E27FC236}">
                <a16:creationId xmlns:a16="http://schemas.microsoft.com/office/drawing/2014/main" id="{01B8724E-CFF5-F77D-7460-AE7DB4058ACE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201014568"/>
              </p:ext>
            </p:extLst>
          </p:nvPr>
        </p:nvGraphicFramePr>
        <p:xfrm>
          <a:off x="2967038" y="2297113"/>
          <a:ext cx="1595437" cy="1103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996DC43B-3AB9-D63F-21D4-24221B076F22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3763963" y="2212975"/>
            <a:ext cx="0" cy="2206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F2CE2ACA-0BF9-992A-E2BC-F0A764DE8889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3763962" y="2212975"/>
            <a:ext cx="4651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BD99919B-0BDF-4353-3E03-E2363D6B9C97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4229100" y="22129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6" name="Google Shape;7;p1">
            <a:extLst>
              <a:ext uri="{FF2B5EF4-FFF2-40B4-BE49-F238E27FC236}">
                <a16:creationId xmlns:a16="http://schemas.microsoft.com/office/drawing/2014/main" id="{CB4E1ED4-85C8-4B64-8697-E0579817B4FD}"/>
              </a:ext>
            </a:extLst>
          </p:cNvPr>
          <p:cNvSpPr txBox="1"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201988" y="3281363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9F02AE-1A27-410B-AA86-DD886BE29B96}" type="datetime'''''''''''F''''''''Y''''''''''''''''''''''''2''''''''''''2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2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7" name="Google Shape;7;p1">
            <a:extLst>
              <a:ext uri="{FF2B5EF4-FFF2-40B4-BE49-F238E27FC236}">
                <a16:creationId xmlns:a16="http://schemas.microsoft.com/office/drawing/2014/main" id="{D98B8BE8-B3D3-1A85-F9E2-9F3121590EB3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667125" y="3281363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23DE550-C549-4053-9E35-79361897D648}" type="datetime'''''''''''''''F''''''''Y''''2''3''''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3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8" name="Google Shape;7;p1">
            <a:extLst>
              <a:ext uri="{FF2B5EF4-FFF2-40B4-BE49-F238E27FC236}">
                <a16:creationId xmlns:a16="http://schemas.microsoft.com/office/drawing/2014/main" id="{3CF27E89-8DC3-B731-2B76-37283BA029FC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132263" y="3281363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44F73BF-B89D-4238-B65C-0BF79D7AAB57}" type="datetime'''''''''F''''Y''2''''''''''''''''''''''''''''''4''''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4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9" name="Google Shape;7;p1">
            <a:extLst>
              <a:ext uri="{FF2B5EF4-FFF2-40B4-BE49-F238E27FC236}">
                <a16:creationId xmlns:a16="http://schemas.microsoft.com/office/drawing/2014/main" id="{20A67C03-292A-2B26-14D6-72C829370B10}"/>
              </a:ext>
            </a:extLst>
          </p:cNvPr>
          <p:cNvSpPr txBox="1"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856038" y="2147888"/>
            <a:ext cx="280988" cy="131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707CAC3-C02E-48E7-A2A7-A69AC00BB5B7}" type="datetime'''''''''''''+''''''1''0''''''''''%'''''''''''''''''''">
              <a:rPr lang="en-IN" altLang="en-US" sz="6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/>
              <a:t>+10%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456" name="Chart 455">
            <a:extLst>
              <a:ext uri="{FF2B5EF4-FFF2-40B4-BE49-F238E27FC236}">
                <a16:creationId xmlns:a16="http://schemas.microsoft.com/office/drawing/2014/main" id="{C1065B52-25B8-8B0D-2B7D-B988E69F9371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70242792"/>
              </p:ext>
            </p:extLst>
          </p:nvPr>
        </p:nvGraphicFramePr>
        <p:xfrm>
          <a:off x="4462463" y="2297113"/>
          <a:ext cx="1560512" cy="1103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B2E44332-CDDF-D95A-DB82-7A6B1C8A2B27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5241925" y="2255838"/>
            <a:ext cx="0" cy="1301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B5CC7122-E244-9863-5DF0-E7A862DF77D0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5241925" y="2255838"/>
            <a:ext cx="4651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B7E703E5-5524-CDC2-C911-3E8897292AC5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707063" y="22558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6" name="Google Shape;7;p1">
            <a:extLst>
              <a:ext uri="{FF2B5EF4-FFF2-40B4-BE49-F238E27FC236}">
                <a16:creationId xmlns:a16="http://schemas.microsoft.com/office/drawing/2014/main" id="{ED620894-DFF1-D2A3-1DC2-DB684570055C}"/>
              </a:ext>
            </a:extLst>
          </p:cNvPr>
          <p:cNvSpPr txBox="1"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679950" y="3281363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243A389-C123-4A48-BDEE-6A447CEC385C}" type="datetime'''''''''''F''''''''''''''''''''''''''''Y''''2''2''''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2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37" name="Google Shape;7;p1">
            <a:extLst>
              <a:ext uri="{FF2B5EF4-FFF2-40B4-BE49-F238E27FC236}">
                <a16:creationId xmlns:a16="http://schemas.microsoft.com/office/drawing/2014/main" id="{82C24A13-4B86-DA00-D0BA-25AB01FD2F62}"/>
              </a:ext>
            </a:extLst>
          </p:cNvPr>
          <p:cNvSpPr txBox="1"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145088" y="3281363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E84E350-6956-427C-B5D8-CD83D4C411C4}" type="datetime'''''''''''''''''''''''''''''F''Y''''2''''''3''''''''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3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38" name="Google Shape;7;p1">
            <a:extLst>
              <a:ext uri="{FF2B5EF4-FFF2-40B4-BE49-F238E27FC236}">
                <a16:creationId xmlns:a16="http://schemas.microsoft.com/office/drawing/2014/main" id="{49A568EB-BF97-1F51-5D8C-3C325FD3CB5C}"/>
              </a:ext>
            </a:extLst>
          </p:cNvPr>
          <p:cNvSpPr txBox="1"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610225" y="3281363"/>
            <a:ext cx="195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1FF8B7A-E842-44D2-A1C7-621BC5D2DC87}" type="datetime'F''''''''''''''''''''''''''''Y''2''''4'''''''''''">
              <a:rPr lang="en-IN" altLang="en-US" sz="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FY24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39" name="Google Shape;7;p1">
            <a:extLst>
              <a:ext uri="{FF2B5EF4-FFF2-40B4-BE49-F238E27FC236}">
                <a16:creationId xmlns:a16="http://schemas.microsoft.com/office/drawing/2014/main" id="{F01653B8-90B1-0889-D148-EC3D9AF70715}"/>
              </a:ext>
            </a:extLst>
          </p:cNvPr>
          <p:cNvSpPr txBox="1"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376863" y="2190750"/>
            <a:ext cx="193675" cy="13176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98D6F02-D426-4523-BEAD-8DCA561FC314}" type="datetime'''''''''''''''''''''''''''''''''''''''-''''''''''''''3%'''''''">
              <a:rPr lang="en-IN" altLang="en-US" sz="6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/>
              <a:t>-3%</a:t>
            </a:fld>
            <a:endParaRPr lang="en-IN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2BDAD202-7D37-6202-8B5C-1825DA490EEB}"/>
              </a:ext>
            </a:extLst>
          </p:cNvPr>
          <p:cNvSpPr txBox="1"/>
          <p:nvPr/>
        </p:nvSpPr>
        <p:spPr>
          <a:xfrm>
            <a:off x="3157481" y="1880464"/>
            <a:ext cx="1253101" cy="200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N" sz="700" b="1" dirty="0"/>
              <a:t>In-Patient volume (‘000)</a:t>
            </a:r>
          </a:p>
        </p:txBody>
      </p:sp>
      <p:sp>
        <p:nvSpPr>
          <p:cNvPr id="457" name="TextBox 456">
            <a:extLst>
              <a:ext uri="{FF2B5EF4-FFF2-40B4-BE49-F238E27FC236}">
                <a16:creationId xmlns:a16="http://schemas.microsoft.com/office/drawing/2014/main" id="{5229D064-832E-BD75-4410-B38491788DE2}"/>
              </a:ext>
            </a:extLst>
          </p:cNvPr>
          <p:cNvSpPr txBox="1"/>
          <p:nvPr/>
        </p:nvSpPr>
        <p:spPr>
          <a:xfrm>
            <a:off x="3180648" y="3404060"/>
            <a:ext cx="1281815" cy="200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N" sz="700" b="1" dirty="0"/>
              <a:t>Out-Patient volume (‘000)</a:t>
            </a:r>
          </a:p>
        </p:txBody>
      </p:sp>
      <p:sp>
        <p:nvSpPr>
          <p:cNvPr id="458" name="TextBox 457">
            <a:extLst>
              <a:ext uri="{FF2B5EF4-FFF2-40B4-BE49-F238E27FC236}">
                <a16:creationId xmlns:a16="http://schemas.microsoft.com/office/drawing/2014/main" id="{E13AB7E4-C1E9-4261-C870-346D910D8E3B}"/>
              </a:ext>
            </a:extLst>
          </p:cNvPr>
          <p:cNvSpPr txBox="1"/>
          <p:nvPr/>
        </p:nvSpPr>
        <p:spPr>
          <a:xfrm>
            <a:off x="4609019" y="1880464"/>
            <a:ext cx="1253101" cy="200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N" sz="700" b="1" dirty="0"/>
              <a:t>Occupancy Rate %</a:t>
            </a:r>
          </a:p>
        </p:txBody>
      </p:sp>
      <p:sp>
        <p:nvSpPr>
          <p:cNvPr id="459" name="TextBox 458">
            <a:extLst>
              <a:ext uri="{FF2B5EF4-FFF2-40B4-BE49-F238E27FC236}">
                <a16:creationId xmlns:a16="http://schemas.microsoft.com/office/drawing/2014/main" id="{2330B48F-E6A3-607F-56A5-5ED7F6EEF56E}"/>
              </a:ext>
            </a:extLst>
          </p:cNvPr>
          <p:cNvSpPr txBox="1"/>
          <p:nvPr/>
        </p:nvSpPr>
        <p:spPr>
          <a:xfrm>
            <a:off x="4648707" y="3408078"/>
            <a:ext cx="1253101" cy="200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N" sz="700" b="1" dirty="0"/>
              <a:t>ARPOB (‘000)</a:t>
            </a:r>
          </a:p>
        </p:txBody>
      </p:sp>
      <p:sp>
        <p:nvSpPr>
          <p:cNvPr id="460" name="Rectangle 459">
            <a:extLst>
              <a:ext uri="{FF2B5EF4-FFF2-40B4-BE49-F238E27FC236}">
                <a16:creationId xmlns:a16="http://schemas.microsoft.com/office/drawing/2014/main" id="{F3FF1FE5-7DA0-E97F-C183-E5CB72FFE61B}"/>
              </a:ext>
            </a:extLst>
          </p:cNvPr>
          <p:cNvSpPr/>
          <p:nvPr/>
        </p:nvSpPr>
        <p:spPr>
          <a:xfrm>
            <a:off x="101347" y="4182257"/>
            <a:ext cx="2854642" cy="149219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/>
              <a:t>M&amp;A developments</a:t>
            </a:r>
          </a:p>
        </p:txBody>
      </p:sp>
      <p:sp>
        <p:nvSpPr>
          <p:cNvPr id="461" name="TextBox 460">
            <a:extLst>
              <a:ext uri="{FF2B5EF4-FFF2-40B4-BE49-F238E27FC236}">
                <a16:creationId xmlns:a16="http://schemas.microsoft.com/office/drawing/2014/main" id="{071E751E-2A4B-85AB-BB8B-9BBB13E3C544}"/>
              </a:ext>
            </a:extLst>
          </p:cNvPr>
          <p:cNvSpPr txBox="1"/>
          <p:nvPr/>
        </p:nvSpPr>
        <p:spPr>
          <a:xfrm>
            <a:off x="111402" y="4391038"/>
            <a:ext cx="2790825" cy="483447"/>
          </a:xfrm>
          <a:prstGeom prst="rect">
            <a:avLst/>
          </a:prstGeom>
          <a:noFill/>
          <a:ln w="12700">
            <a:solidFill>
              <a:schemeClr val="tx1"/>
            </a:solidFill>
            <a:prstDash val="lgDash"/>
          </a:ln>
        </p:spPr>
        <p:txBody>
          <a:bodyPr wrap="square" rtlCol="0">
            <a:noAutofit/>
          </a:bodyPr>
          <a:lstStyle/>
          <a:p>
            <a:pPr lvl="3"/>
            <a:r>
              <a:rPr lang="en-IN" sz="800" dirty="0"/>
              <a:t>Blackstone acquires stake in KIMS through its investments in CARE. </a:t>
            </a:r>
            <a:r>
              <a:rPr lang="en-IN" sz="800" dirty="0" err="1"/>
              <a:t>TrueNorth</a:t>
            </a:r>
            <a:r>
              <a:rPr lang="en-IN" sz="800" dirty="0"/>
              <a:t>, which entered in 2017 with $200 million stake, made an exit with ~ x33 returns. </a:t>
            </a: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345735EC-E863-CE4B-7CEA-AC9C470891D6}"/>
              </a:ext>
            </a:extLst>
          </p:cNvPr>
          <p:cNvSpPr/>
          <p:nvPr/>
        </p:nvSpPr>
        <p:spPr>
          <a:xfrm>
            <a:off x="6209671" y="2817252"/>
            <a:ext cx="1110385" cy="247327"/>
          </a:xfrm>
          <a:prstGeom prst="rect">
            <a:avLst/>
          </a:prstGeom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800" dirty="0">
                <a:solidFill>
                  <a:schemeClr val="tx1"/>
                </a:solidFill>
              </a:rPr>
              <a:t>ROCE	</a:t>
            </a:r>
          </a:p>
        </p:txBody>
      </p:sp>
      <p:sp>
        <p:nvSpPr>
          <p:cNvPr id="463" name="Rectangle 462">
            <a:extLst>
              <a:ext uri="{FF2B5EF4-FFF2-40B4-BE49-F238E27FC236}">
                <a16:creationId xmlns:a16="http://schemas.microsoft.com/office/drawing/2014/main" id="{18A99D6E-EE50-BA2B-07C9-8DEA5AFCC0C3}"/>
              </a:ext>
            </a:extLst>
          </p:cNvPr>
          <p:cNvSpPr/>
          <p:nvPr/>
        </p:nvSpPr>
        <p:spPr>
          <a:xfrm>
            <a:off x="6685590" y="2816044"/>
            <a:ext cx="695155" cy="24622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6.9%</a:t>
            </a:r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180E04EA-26A0-1CB6-6E70-AFFCE4B3689A}"/>
              </a:ext>
            </a:extLst>
          </p:cNvPr>
          <p:cNvSpPr/>
          <p:nvPr/>
        </p:nvSpPr>
        <p:spPr>
          <a:xfrm>
            <a:off x="7685544" y="2822547"/>
            <a:ext cx="1110385" cy="247327"/>
          </a:xfrm>
          <a:prstGeom prst="rect">
            <a:avLst/>
          </a:prstGeom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800" dirty="0">
                <a:solidFill>
                  <a:schemeClr val="tx1"/>
                </a:solidFill>
              </a:rPr>
              <a:t>Current</a:t>
            </a:r>
          </a:p>
          <a:p>
            <a:r>
              <a:rPr lang="en-IN" sz="800" dirty="0">
                <a:solidFill>
                  <a:schemeClr val="tx1"/>
                </a:solidFill>
              </a:rPr>
              <a:t>Ratio	</a:t>
            </a: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78029562-595F-8047-9395-F42F2D65A280}"/>
              </a:ext>
            </a:extLst>
          </p:cNvPr>
          <p:cNvSpPr/>
          <p:nvPr/>
        </p:nvSpPr>
        <p:spPr>
          <a:xfrm>
            <a:off x="8161462" y="2822547"/>
            <a:ext cx="695156" cy="24732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.03</a:t>
            </a: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8D0BDC3F-0C91-E4B9-2AB9-E67F2242D27F}"/>
              </a:ext>
            </a:extLst>
          </p:cNvPr>
          <p:cNvSpPr/>
          <p:nvPr/>
        </p:nvSpPr>
        <p:spPr>
          <a:xfrm>
            <a:off x="6209219" y="3231504"/>
            <a:ext cx="1110385" cy="247327"/>
          </a:xfrm>
          <a:prstGeom prst="rect">
            <a:avLst/>
          </a:prstGeom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800" dirty="0">
                <a:solidFill>
                  <a:schemeClr val="tx1"/>
                </a:solidFill>
              </a:rPr>
              <a:t>Stock </a:t>
            </a:r>
          </a:p>
          <a:p>
            <a:r>
              <a:rPr lang="en-IN" sz="800" dirty="0">
                <a:solidFill>
                  <a:schemeClr val="tx1"/>
                </a:solidFill>
              </a:rPr>
              <a:t>Price	</a:t>
            </a: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536A4443-F7C5-8229-0FA0-409A20A4E64A}"/>
              </a:ext>
            </a:extLst>
          </p:cNvPr>
          <p:cNvSpPr/>
          <p:nvPr/>
        </p:nvSpPr>
        <p:spPr>
          <a:xfrm>
            <a:off x="6665782" y="3231504"/>
            <a:ext cx="714511" cy="24732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0% CAGR (3yr)</a:t>
            </a:r>
          </a:p>
        </p:txBody>
      </p:sp>
      <p:sp>
        <p:nvSpPr>
          <p:cNvPr id="470" name="Rectangle 469">
            <a:extLst>
              <a:ext uri="{FF2B5EF4-FFF2-40B4-BE49-F238E27FC236}">
                <a16:creationId xmlns:a16="http://schemas.microsoft.com/office/drawing/2014/main" id="{FADC6E06-1526-903B-8645-161328F9ED45}"/>
              </a:ext>
            </a:extLst>
          </p:cNvPr>
          <p:cNvSpPr/>
          <p:nvPr/>
        </p:nvSpPr>
        <p:spPr>
          <a:xfrm>
            <a:off x="7692377" y="3235517"/>
            <a:ext cx="1110385" cy="247327"/>
          </a:xfrm>
          <a:prstGeom prst="rect">
            <a:avLst/>
          </a:prstGeom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800" dirty="0">
                <a:solidFill>
                  <a:schemeClr val="tx1"/>
                </a:solidFill>
              </a:rPr>
              <a:t>ROE	</a:t>
            </a:r>
          </a:p>
        </p:txBody>
      </p:sp>
      <p:sp>
        <p:nvSpPr>
          <p:cNvPr id="471" name="Rectangle 470">
            <a:extLst>
              <a:ext uri="{FF2B5EF4-FFF2-40B4-BE49-F238E27FC236}">
                <a16:creationId xmlns:a16="http://schemas.microsoft.com/office/drawing/2014/main" id="{B0AF2F89-DAE0-D202-536C-3B34759E3849}"/>
              </a:ext>
            </a:extLst>
          </p:cNvPr>
          <p:cNvSpPr/>
          <p:nvPr/>
        </p:nvSpPr>
        <p:spPr>
          <a:xfrm>
            <a:off x="8168295" y="3235517"/>
            <a:ext cx="695156" cy="24732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2% (3yr)</a:t>
            </a:r>
          </a:p>
        </p:txBody>
      </p:sp>
    </p:spTree>
    <p:extLst>
      <p:ext uri="{BB962C8B-B14F-4D97-AF65-F5344CB8AC3E}">
        <p14:creationId xmlns:p14="http://schemas.microsoft.com/office/powerpoint/2010/main" val="10418951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C9836B9-73EB-E5F1-DE87-0E9C2F784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3" progId="TCLayout.ActiveDocument.1">
                  <p:embed/>
                </p:oleObj>
              </mc:Choice>
              <mc:Fallback>
                <p:oleObj name="think-cell Slide" r:id="rId4" imgW="471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836B9-73EB-E5F1-DE87-0E9C2F784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Google Shape;196;p23"/>
          <p:cNvSpPr txBox="1"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453150" y="57599"/>
            <a:ext cx="8237700" cy="28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eer Benchmarking</a:t>
            </a:r>
            <a:endParaRPr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7DC1E59-7593-B3E6-BB60-0EA093E5DC91}"/>
              </a:ext>
            </a:extLst>
          </p:cNvPr>
          <p:cNvSpPr/>
          <p:nvPr/>
        </p:nvSpPr>
        <p:spPr>
          <a:xfrm>
            <a:off x="453150" y="431517"/>
            <a:ext cx="8053135" cy="236904"/>
          </a:xfrm>
          <a:prstGeom prst="rect">
            <a:avLst/>
          </a:prstGeom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tx1"/>
                </a:solidFill>
              </a:rPr>
              <a:t>KIMS shows promising figures with respect to invested capital and equity resources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6A872C9-371B-CA41-90FD-411918DC60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0491717"/>
              </p:ext>
            </p:extLst>
          </p:nvPr>
        </p:nvGraphicFramePr>
        <p:xfrm>
          <a:off x="453150" y="721361"/>
          <a:ext cx="8053136" cy="3471761"/>
        </p:xfrm>
        <a:graphic>
          <a:graphicData uri="http://schemas.openxmlformats.org/drawingml/2006/table">
            <a:tbl>
              <a:tblPr/>
              <a:tblGrid>
                <a:gridCol w="381039">
                  <a:extLst>
                    <a:ext uri="{9D8B030D-6E8A-4147-A177-3AD203B41FA5}">
                      <a16:colId xmlns:a16="http://schemas.microsoft.com/office/drawing/2014/main" val="4290967779"/>
                    </a:ext>
                  </a:extLst>
                </a:gridCol>
                <a:gridCol w="2680481">
                  <a:extLst>
                    <a:ext uri="{9D8B030D-6E8A-4147-A177-3AD203B41FA5}">
                      <a16:colId xmlns:a16="http://schemas.microsoft.com/office/drawing/2014/main" val="4240308020"/>
                    </a:ext>
                  </a:extLst>
                </a:gridCol>
                <a:gridCol w="623952">
                  <a:extLst>
                    <a:ext uri="{9D8B030D-6E8A-4147-A177-3AD203B41FA5}">
                      <a16:colId xmlns:a16="http://schemas.microsoft.com/office/drawing/2014/main" val="2196984659"/>
                    </a:ext>
                  </a:extLst>
                </a:gridCol>
                <a:gridCol w="623952">
                  <a:extLst>
                    <a:ext uri="{9D8B030D-6E8A-4147-A177-3AD203B41FA5}">
                      <a16:colId xmlns:a16="http://schemas.microsoft.com/office/drawing/2014/main" val="4174873117"/>
                    </a:ext>
                  </a:extLst>
                </a:gridCol>
                <a:gridCol w="623952">
                  <a:extLst>
                    <a:ext uri="{9D8B030D-6E8A-4147-A177-3AD203B41FA5}">
                      <a16:colId xmlns:a16="http://schemas.microsoft.com/office/drawing/2014/main" val="3296216211"/>
                    </a:ext>
                  </a:extLst>
                </a:gridCol>
                <a:gridCol w="623952">
                  <a:extLst>
                    <a:ext uri="{9D8B030D-6E8A-4147-A177-3AD203B41FA5}">
                      <a16:colId xmlns:a16="http://schemas.microsoft.com/office/drawing/2014/main" val="3451335825"/>
                    </a:ext>
                  </a:extLst>
                </a:gridCol>
                <a:gridCol w="623952">
                  <a:extLst>
                    <a:ext uri="{9D8B030D-6E8A-4147-A177-3AD203B41FA5}">
                      <a16:colId xmlns:a16="http://schemas.microsoft.com/office/drawing/2014/main" val="4200851173"/>
                    </a:ext>
                  </a:extLst>
                </a:gridCol>
                <a:gridCol w="623952">
                  <a:extLst>
                    <a:ext uri="{9D8B030D-6E8A-4147-A177-3AD203B41FA5}">
                      <a16:colId xmlns:a16="http://schemas.microsoft.com/office/drawing/2014/main" val="290940331"/>
                    </a:ext>
                  </a:extLst>
                </a:gridCol>
                <a:gridCol w="623952">
                  <a:extLst>
                    <a:ext uri="{9D8B030D-6E8A-4147-A177-3AD203B41FA5}">
                      <a16:colId xmlns:a16="http://schemas.microsoft.com/office/drawing/2014/main" val="811128683"/>
                    </a:ext>
                  </a:extLst>
                </a:gridCol>
                <a:gridCol w="623952">
                  <a:extLst>
                    <a:ext uri="{9D8B030D-6E8A-4147-A177-3AD203B41FA5}">
                      <a16:colId xmlns:a16="http://schemas.microsoft.com/office/drawing/2014/main" val="161908608"/>
                    </a:ext>
                  </a:extLst>
                </a:gridCol>
              </a:tblGrid>
              <a:tr h="231761"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dicator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041567"/>
                  </a:ext>
                </a:extLst>
              </a:tr>
              <a:tr h="162000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en-GB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inancial Metrics</a:t>
                      </a:r>
                    </a:p>
                  </a:txBody>
                  <a:tcPr marL="4251" marR="4251" marT="4251" marB="0" vert="vert27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OA (5yr </a:t>
                      </a:r>
                      <a:r>
                        <a:rPr lang="en-GB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g</a:t>
                      </a: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40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24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76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91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.63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.24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61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44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39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6234225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sh Conversion Cycle (5yr Avg)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26.12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66.9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D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24.4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69.4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81.1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26.7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3.3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63.1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9348412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evenue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72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63.98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94.4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29.26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80.52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77.02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77.1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50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562393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BIDTA (5yr </a:t>
                      </a:r>
                      <a:r>
                        <a:rPr lang="en-GB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g</a:t>
                      </a: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16.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1.9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4.73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28.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0.4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.59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.4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C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6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371682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perating Profit Margin (5yr </a:t>
                      </a:r>
                      <a:r>
                        <a:rPr lang="en-GB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g</a:t>
                      </a: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.39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48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41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C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93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01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04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43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33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80940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t Profit 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77.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53.83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B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5.2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7.08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4.5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.3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.4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F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2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064561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t Profit CAGR 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8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%**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9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34945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t Profit Margin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0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2388700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OCE (5yr </a:t>
                      </a:r>
                      <a:r>
                        <a:rPr lang="en-GB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g</a:t>
                      </a: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2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846304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urrent Ratio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13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3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4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0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03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9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46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44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6247403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bt to Equity Ratio (5yr Avg)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6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1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6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D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48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74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86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39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1400022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OE (5yr </a:t>
                      </a:r>
                      <a:r>
                        <a:rPr lang="en-GB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g</a:t>
                      </a: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8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290891"/>
                  </a:ext>
                </a:extLst>
              </a:tr>
              <a:tr h="16200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GB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n - Financial Metrics</a:t>
                      </a:r>
                    </a:p>
                  </a:txBody>
                  <a:tcPr marL="4251" marR="4251" marT="4251" marB="0" vert="vert27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umber of Beds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8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8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00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54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0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32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988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90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54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A0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30279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ccupancy Rate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149368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erage Daily Revenue/Occupied Bed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073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100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924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370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85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458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343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36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03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6098250"/>
                  </a:ext>
                </a:extLst>
              </a:tr>
              <a:tr h="162000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rket Performance</a:t>
                      </a:r>
                    </a:p>
                  </a:txBody>
                  <a:tcPr marL="4251" marR="4251" marT="4251" marB="0" vert="vert27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rket Capitalisation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924.6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250.88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F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104.66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714.04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101.6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94.42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87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53.98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166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C9B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2078334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hare Price (52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k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- H/L)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00 / 4726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80 / 53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8 / 314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45 / 980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0 / 32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5 / 310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0 / 210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14/676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9401959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ice to Earnings Ratio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7.4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.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.7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.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1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.4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.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1754229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ice to Book Ratio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.5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76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.26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.09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.14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05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4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107388"/>
                  </a:ext>
                </a:extLst>
              </a:tr>
              <a:tr h="1620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jor Promoter Holding</a:t>
                      </a:r>
                    </a:p>
                  </a:txBody>
                  <a:tcPr marL="4251" marR="4251" marT="4251" marB="0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4251" marR="4251" marT="4251" marB="0" anchor="ctr">
                    <a:lnL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585338"/>
                  </a:ext>
                </a:extLst>
              </a:tr>
            </a:tbl>
          </a:graphicData>
        </a:graphic>
      </p:graphicFrame>
      <p:pic>
        <p:nvPicPr>
          <p:cNvPr id="21" name="Picture 20" descr="A blue and yellow logo&#10;&#10;Description automatically generated">
            <a:extLst>
              <a:ext uri="{FF2B5EF4-FFF2-40B4-BE49-F238E27FC236}">
                <a16:creationId xmlns:a16="http://schemas.microsoft.com/office/drawing/2014/main" id="{B8D4B8CA-84EF-E444-2D19-D0903E0926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69084" y="697539"/>
            <a:ext cx="341023" cy="292750"/>
          </a:xfrm>
          <a:prstGeom prst="rect">
            <a:avLst/>
          </a:prstGeom>
        </p:spPr>
      </p:pic>
      <p:pic>
        <p:nvPicPr>
          <p:cNvPr id="22" name="Picture 6">
            <a:extLst>
              <a:ext uri="{FF2B5EF4-FFF2-40B4-BE49-F238E27FC236}">
                <a16:creationId xmlns:a16="http://schemas.microsoft.com/office/drawing/2014/main" id="{E09CB52E-2F8B-449D-46A1-FA6A8C674D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7817" y="768335"/>
            <a:ext cx="419952" cy="137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 descr="A logo with green and red text&#10;&#10;Description automatically generated">
            <a:extLst>
              <a:ext uri="{FF2B5EF4-FFF2-40B4-BE49-F238E27FC236}">
                <a16:creationId xmlns:a16="http://schemas.microsoft.com/office/drawing/2014/main" id="{EBE2C8DD-0093-A76C-B1AB-F0DF892A247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45479" y="698997"/>
            <a:ext cx="399118" cy="266079"/>
          </a:xfrm>
          <a:prstGeom prst="rect">
            <a:avLst/>
          </a:prstGeom>
        </p:spPr>
      </p:pic>
      <p:pic>
        <p:nvPicPr>
          <p:cNvPr id="24" name="Picture 10" descr="Narayana Hrudayalaya logo in transparent PNG and vectorized SVG formats">
            <a:extLst>
              <a:ext uri="{FF2B5EF4-FFF2-40B4-BE49-F238E27FC236}">
                <a16:creationId xmlns:a16="http://schemas.microsoft.com/office/drawing/2014/main" id="{CABB2FF3-D73C-DE2A-A16C-F018E9FB7C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949" y="742003"/>
            <a:ext cx="490705" cy="194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15D41E05-03DE-DC6A-FD62-BF38A4F9A4E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90329" y="706141"/>
            <a:ext cx="596861" cy="266302"/>
          </a:xfrm>
          <a:prstGeom prst="rect">
            <a:avLst/>
          </a:prstGeom>
        </p:spPr>
      </p:pic>
      <p:pic>
        <p:nvPicPr>
          <p:cNvPr id="26" name="Picture 25" descr="A logo on a black background&#10;&#10;Description automatically generated">
            <a:extLst>
              <a:ext uri="{FF2B5EF4-FFF2-40B4-BE49-F238E27FC236}">
                <a16:creationId xmlns:a16="http://schemas.microsoft.com/office/drawing/2014/main" id="{63FD67CD-C807-4E10-22F9-A8F73775F360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25032" r="49873" b="29041"/>
          <a:stretch/>
        </p:blipFill>
        <p:spPr>
          <a:xfrm>
            <a:off x="6740535" y="742003"/>
            <a:ext cx="384299" cy="195610"/>
          </a:xfrm>
          <a:prstGeom prst="rect">
            <a:avLst/>
          </a:prstGeom>
        </p:spPr>
      </p:pic>
      <p:pic>
        <p:nvPicPr>
          <p:cNvPr id="27" name="Picture 12" descr="Shalby Hospitals - Wikipedia">
            <a:extLst>
              <a:ext uri="{FF2B5EF4-FFF2-40B4-BE49-F238E27FC236}">
                <a16:creationId xmlns:a16="http://schemas.microsoft.com/office/drawing/2014/main" id="{C4D3893F-199B-4A80-1032-AC6D1AC626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2922" y="752469"/>
            <a:ext cx="427632" cy="17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4" descr="Global Health Limited (Medanta) logo in transparent PNG and vectorized SVG  formats">
            <a:extLst>
              <a:ext uri="{FF2B5EF4-FFF2-40B4-BE49-F238E27FC236}">
                <a16:creationId xmlns:a16="http://schemas.microsoft.com/office/drawing/2014/main" id="{565924E2-D0D5-829F-8062-2F083C015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9643" y="757339"/>
            <a:ext cx="477322" cy="149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034F740-1C37-99DB-8A2A-6C036A7474EF}"/>
              </a:ext>
            </a:extLst>
          </p:cNvPr>
          <p:cNvSpPr/>
          <p:nvPr/>
        </p:nvSpPr>
        <p:spPr>
          <a:xfrm>
            <a:off x="453150" y="4265618"/>
            <a:ext cx="1482597" cy="486610"/>
          </a:xfrm>
          <a:prstGeom prst="rect">
            <a:avLst/>
          </a:prstGeom>
          <a:solidFill>
            <a:schemeClr val="bg1"/>
          </a:solidFill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06E9892-8274-27C5-FA53-8B24B66AC0A2}"/>
              </a:ext>
            </a:extLst>
          </p:cNvPr>
          <p:cNvSpPr/>
          <p:nvPr/>
        </p:nvSpPr>
        <p:spPr>
          <a:xfrm>
            <a:off x="2735220" y="4265618"/>
            <a:ext cx="1482597" cy="486610"/>
          </a:xfrm>
          <a:prstGeom prst="rect">
            <a:avLst/>
          </a:prstGeom>
          <a:solidFill>
            <a:schemeClr val="bg1"/>
          </a:solidFill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8D6731-2553-EEE1-CE69-B840D113B114}"/>
              </a:ext>
            </a:extLst>
          </p:cNvPr>
          <p:cNvSpPr/>
          <p:nvPr/>
        </p:nvSpPr>
        <p:spPr>
          <a:xfrm>
            <a:off x="4806162" y="4263448"/>
            <a:ext cx="1482597" cy="486610"/>
          </a:xfrm>
          <a:prstGeom prst="rect">
            <a:avLst/>
          </a:prstGeom>
          <a:solidFill>
            <a:schemeClr val="bg1"/>
          </a:solidFill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E3E9DDB-B743-D5C7-7766-4EC2095BB11E}"/>
              </a:ext>
            </a:extLst>
          </p:cNvPr>
          <p:cNvSpPr/>
          <p:nvPr/>
        </p:nvSpPr>
        <p:spPr>
          <a:xfrm>
            <a:off x="7023688" y="4265618"/>
            <a:ext cx="1482597" cy="486610"/>
          </a:xfrm>
          <a:prstGeom prst="rect">
            <a:avLst/>
          </a:prstGeom>
          <a:solidFill>
            <a:schemeClr val="bg1"/>
          </a:solidFill>
          <a:ln w="127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66F0278-E411-1816-9A0A-2B088BB11681}"/>
              </a:ext>
            </a:extLst>
          </p:cNvPr>
          <p:cNvSpPr txBox="1"/>
          <p:nvPr/>
        </p:nvSpPr>
        <p:spPr>
          <a:xfrm>
            <a:off x="405714" y="4308868"/>
            <a:ext cx="15774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KIMS has highest </a:t>
            </a:r>
            <a:r>
              <a:rPr lang="en-IN" sz="1000" dirty="0" err="1"/>
              <a:t>RoA</a:t>
            </a:r>
            <a:r>
              <a:rPr lang="en-IN" sz="1000" dirty="0"/>
              <a:t> amongst its pee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239344B-E6FB-F746-E7E5-A0D939CDC1CA}"/>
              </a:ext>
            </a:extLst>
          </p:cNvPr>
          <p:cNvSpPr txBox="1"/>
          <p:nvPr/>
        </p:nvSpPr>
        <p:spPr>
          <a:xfrm>
            <a:off x="2687784" y="4293480"/>
            <a:ext cx="157746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Has highest Operating Margin with </a:t>
            </a:r>
            <a:r>
              <a:rPr lang="el-GR" sz="1100" b="0" i="0" dirty="0">
                <a:solidFill>
                  <a:srgbClr val="1F1F1F"/>
                </a:solidFill>
                <a:effectLst/>
                <a:latin typeface="Google Sans"/>
              </a:rPr>
              <a:t>Δ </a:t>
            </a:r>
            <a:r>
              <a:rPr lang="en-IN" sz="1100" b="0" i="0" dirty="0">
                <a:solidFill>
                  <a:srgbClr val="1F1F1F"/>
                </a:solidFill>
                <a:effectLst/>
                <a:latin typeface="Google Sans"/>
              </a:rPr>
              <a:t>= 3.53%</a:t>
            </a:r>
            <a:endParaRPr lang="en-IN" sz="10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3F4FBCD-77C1-E56F-3C4C-A9A2F7FC481E}"/>
              </a:ext>
            </a:extLst>
          </p:cNvPr>
          <p:cNvSpPr txBox="1"/>
          <p:nvPr/>
        </p:nvSpPr>
        <p:spPr>
          <a:xfrm>
            <a:off x="4758726" y="4224230"/>
            <a:ext cx="15774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High efficiency in capital utilisation, with industry leading RO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F4781F8-4C1B-DE30-3E91-26714EECC20F}"/>
              </a:ext>
            </a:extLst>
          </p:cNvPr>
          <p:cNvSpPr txBox="1"/>
          <p:nvPr/>
        </p:nvSpPr>
        <p:spPr>
          <a:xfrm>
            <a:off x="6971820" y="4293480"/>
            <a:ext cx="15774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Highest ROE, with </a:t>
            </a:r>
            <a:r>
              <a:rPr lang="el-GR" sz="1000" dirty="0"/>
              <a:t>Δ</a:t>
            </a:r>
            <a:r>
              <a:rPr lang="en-IN" sz="1000" dirty="0"/>
              <a:t> = 3% amongst its peers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A401F92-4B70-1112-88CA-35AC4E734108}"/>
              </a:ext>
            </a:extLst>
          </p:cNvPr>
          <p:cNvSpPr txBox="1"/>
          <p:nvPr/>
        </p:nvSpPr>
        <p:spPr>
          <a:xfrm>
            <a:off x="-1" y="4912668"/>
            <a:ext cx="89514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rce – Screener, </a:t>
            </a:r>
            <a:r>
              <a:rPr lang="en-I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jori</a:t>
            </a:r>
            <a:r>
              <a:rPr lang="en-I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inance, Bloomberg | ** Net profit CAGR calculated over 3 years for HCG due to negative profits in 2020 and 2021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8B723FF-34BC-8089-1629-FF94E85AF0E2}"/>
              </a:ext>
            </a:extLst>
          </p:cNvPr>
          <p:cNvCxnSpPr/>
          <p:nvPr/>
        </p:nvCxnSpPr>
        <p:spPr>
          <a:xfrm>
            <a:off x="-1" y="4912668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42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F21C2BF9-44BB-117C-E470-87314E4F203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29783" y="20220"/>
            <a:ext cx="722134" cy="32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4473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C9836B9-73EB-E5F1-DE87-0E9C2F784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4056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3" progId="TCLayout.ActiveDocument.1">
                  <p:embed/>
                </p:oleObj>
              </mc:Choice>
              <mc:Fallback>
                <p:oleObj name="think-cell Slide" r:id="rId4" imgW="471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836B9-73EB-E5F1-DE87-0E9C2F784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Google Shape;196;p23"/>
          <p:cNvSpPr txBox="1"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453150" y="57599"/>
            <a:ext cx="8237700" cy="28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Valuation</a:t>
            </a:r>
            <a:endParaRPr dirty="0"/>
          </a:p>
        </p:txBody>
      </p:sp>
      <p:cxnSp>
        <p:nvCxnSpPr>
          <p:cNvPr id="1120" name="Straight Connector 1119">
            <a:extLst>
              <a:ext uri="{FF2B5EF4-FFF2-40B4-BE49-F238E27FC236}">
                <a16:creationId xmlns:a16="http://schemas.microsoft.com/office/drawing/2014/main" id="{EF4F6817-1C49-8ACF-A6FF-350E93ECF197}"/>
              </a:ext>
            </a:extLst>
          </p:cNvPr>
          <p:cNvCxnSpPr/>
          <p:nvPr/>
        </p:nvCxnSpPr>
        <p:spPr>
          <a:xfrm>
            <a:off x="-1" y="4912668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1" name="TextBox 1120">
            <a:extLst>
              <a:ext uri="{FF2B5EF4-FFF2-40B4-BE49-F238E27FC236}">
                <a16:creationId xmlns:a16="http://schemas.microsoft.com/office/drawing/2014/main" id="{AE487B77-0812-D495-2763-E3EAAF0D9347}"/>
              </a:ext>
            </a:extLst>
          </p:cNvPr>
          <p:cNvSpPr txBox="1"/>
          <p:nvPr/>
        </p:nvSpPr>
        <p:spPr>
          <a:xfrm>
            <a:off x="-1" y="4912668"/>
            <a:ext cx="89514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rce – Annual Report FY 23-24, </a:t>
            </a:r>
            <a:r>
              <a:rPr lang="en-I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jori</a:t>
            </a:r>
            <a:r>
              <a:rPr lang="en-I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inance, Bloomberg, Screener</a:t>
            </a:r>
          </a:p>
        </p:txBody>
      </p:sp>
      <p:pic>
        <p:nvPicPr>
          <p:cNvPr id="1124" name="Picture 1123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2744C195-5DC2-9E4E-F9BE-3E97E2F1F7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29783" y="20220"/>
            <a:ext cx="722134" cy="32219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EC0E9C5-9392-0674-023B-7741FCA43E82}"/>
              </a:ext>
            </a:extLst>
          </p:cNvPr>
          <p:cNvSpPr/>
          <p:nvPr/>
        </p:nvSpPr>
        <p:spPr>
          <a:xfrm>
            <a:off x="106680" y="465588"/>
            <a:ext cx="6365239" cy="250202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dirty="0"/>
              <a:t>Football </a:t>
            </a:r>
            <a:r>
              <a:rPr lang="en-IN" sz="900"/>
              <a:t>Field Analysis</a:t>
            </a:r>
            <a:endParaRPr lang="en-IN" sz="900" dirty="0"/>
          </a:p>
        </p:txBody>
      </p:sp>
      <p:graphicFrame>
        <p:nvGraphicFramePr>
          <p:cNvPr id="60" name="Table 59">
            <a:extLst>
              <a:ext uri="{FF2B5EF4-FFF2-40B4-BE49-F238E27FC236}">
                <a16:creationId xmlns:a16="http://schemas.microsoft.com/office/drawing/2014/main" id="{5476B9C3-9B02-89B9-97EF-730B041879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8593086"/>
              </p:ext>
            </p:extLst>
          </p:nvPr>
        </p:nvGraphicFramePr>
        <p:xfrm>
          <a:off x="106681" y="747826"/>
          <a:ext cx="6365239" cy="1672449"/>
        </p:xfrm>
        <a:graphic>
          <a:graphicData uri="http://schemas.openxmlformats.org/drawingml/2006/table">
            <a:tbl>
              <a:tblPr firstRow="1" bandRow="1">
                <a:tableStyleId>{98C629C4-6431-425F-B77E-08276FAF528A}</a:tableStyleId>
              </a:tblPr>
              <a:tblGrid>
                <a:gridCol w="1396999">
                  <a:extLst>
                    <a:ext uri="{9D8B030D-6E8A-4147-A177-3AD203B41FA5}">
                      <a16:colId xmlns:a16="http://schemas.microsoft.com/office/drawing/2014/main" val="23107522"/>
                    </a:ext>
                  </a:extLst>
                </a:gridCol>
                <a:gridCol w="2096009">
                  <a:extLst>
                    <a:ext uri="{9D8B030D-6E8A-4147-A177-3AD203B41FA5}">
                      <a16:colId xmlns:a16="http://schemas.microsoft.com/office/drawing/2014/main" val="3382749299"/>
                    </a:ext>
                  </a:extLst>
                </a:gridCol>
                <a:gridCol w="2872231">
                  <a:extLst>
                    <a:ext uri="{9D8B030D-6E8A-4147-A177-3AD203B41FA5}">
                      <a16:colId xmlns:a16="http://schemas.microsoft.com/office/drawing/2014/main" val="421623005"/>
                    </a:ext>
                  </a:extLst>
                </a:gridCol>
              </a:tblGrid>
              <a:tr h="217445">
                <a:tc>
                  <a:txBody>
                    <a:bodyPr/>
                    <a:lstStyle/>
                    <a:p>
                      <a:pPr algn="ctr"/>
                      <a:r>
                        <a:rPr lang="en-IN" sz="800" dirty="0"/>
                        <a:t>Methodology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dirty="0"/>
                        <a:t>Comments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dirty="0"/>
                        <a:t>Valuation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2808495"/>
                  </a:ext>
                </a:extLst>
              </a:tr>
              <a:tr h="257202">
                <a:tc>
                  <a:txBody>
                    <a:bodyPr/>
                    <a:lstStyle/>
                    <a:p>
                      <a:pPr algn="ctr"/>
                      <a:r>
                        <a:rPr lang="en-IN" sz="800" dirty="0"/>
                        <a:t>Discounted Cash Flow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Arial"/>
                          <a:cs typeface="Arial"/>
                          <a:sym typeface="Arial"/>
                        </a:rPr>
                        <a:t>Base-Bear-Bull Case; 5 year DCF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13637690"/>
                  </a:ext>
                </a:extLst>
              </a:tr>
              <a:tr h="257202">
                <a:tc>
                  <a:txBody>
                    <a:bodyPr/>
                    <a:lstStyle/>
                    <a:p>
                      <a:pPr algn="ctr"/>
                      <a:r>
                        <a:rPr lang="en-IN" sz="800" dirty="0"/>
                        <a:t>52 Week Hi-Lo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Arial"/>
                          <a:cs typeface="Arial"/>
                          <a:sym typeface="Arial"/>
                        </a:rPr>
                        <a:t>Using Market Data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7855991"/>
                  </a:ext>
                </a:extLst>
              </a:tr>
              <a:tr h="341699">
                <a:tc>
                  <a:txBody>
                    <a:bodyPr/>
                    <a:lstStyle/>
                    <a:p>
                      <a:pPr algn="ctr"/>
                      <a:r>
                        <a:rPr lang="en-IN" sz="800" dirty="0"/>
                        <a:t>Trading Comparable: P/B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Arial"/>
                          <a:cs typeface="Arial"/>
                          <a:sym typeface="Arial"/>
                        </a:rPr>
                        <a:t>Using peer-average multiple with ± 10% delta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4313233"/>
                  </a:ext>
                </a:extLst>
              </a:tr>
              <a:tr h="341699">
                <a:tc>
                  <a:txBody>
                    <a:bodyPr/>
                    <a:lstStyle/>
                    <a:p>
                      <a:pPr algn="ctr"/>
                      <a:r>
                        <a:rPr lang="en-IN" sz="800" dirty="0"/>
                        <a:t>Trading Comparable: P/E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Arial"/>
                          <a:cs typeface="Arial"/>
                          <a:sym typeface="Arial"/>
                        </a:rPr>
                        <a:t>Using peer-average multiple with ± 10% delta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58463867"/>
                  </a:ext>
                </a:extLst>
              </a:tr>
              <a:tr h="25720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Arial"/>
                          <a:cs typeface="Arial"/>
                          <a:sym typeface="Arial"/>
                        </a:rPr>
                        <a:t>Broker Price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Arial"/>
                          <a:cs typeface="Arial"/>
                          <a:sym typeface="Arial"/>
                        </a:rPr>
                        <a:t>Aggregated from 15 brokers </a:t>
                      </a: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0353534"/>
                  </a:ext>
                </a:extLst>
              </a:tr>
            </a:tbl>
          </a:graphicData>
        </a:graphic>
      </p:graphicFrame>
      <p:sp>
        <p:nvSpPr>
          <p:cNvPr id="61" name="Rectangle 60">
            <a:extLst>
              <a:ext uri="{FF2B5EF4-FFF2-40B4-BE49-F238E27FC236}">
                <a16:creationId xmlns:a16="http://schemas.microsoft.com/office/drawing/2014/main" id="{72D1549E-3599-714D-44D6-A7111926E59D}"/>
              </a:ext>
            </a:extLst>
          </p:cNvPr>
          <p:cNvSpPr/>
          <p:nvPr/>
        </p:nvSpPr>
        <p:spPr>
          <a:xfrm>
            <a:off x="4953000" y="1006557"/>
            <a:ext cx="1041400" cy="157469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3EE1E1F-826E-B5CC-658E-049C0F3EB633}"/>
              </a:ext>
            </a:extLst>
          </p:cNvPr>
          <p:cNvSpPr/>
          <p:nvPr/>
        </p:nvSpPr>
        <p:spPr>
          <a:xfrm>
            <a:off x="4361021" y="1250371"/>
            <a:ext cx="792480" cy="157469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41BB45D-13EC-ADAA-A24D-CBBF320364F2}"/>
              </a:ext>
            </a:extLst>
          </p:cNvPr>
          <p:cNvSpPr/>
          <p:nvPr/>
        </p:nvSpPr>
        <p:spPr>
          <a:xfrm>
            <a:off x="4436751" y="1550416"/>
            <a:ext cx="297180" cy="157469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AAEB1C5-3E41-EA5B-C563-F95359AF87A8}"/>
              </a:ext>
            </a:extLst>
          </p:cNvPr>
          <p:cNvSpPr/>
          <p:nvPr/>
        </p:nvSpPr>
        <p:spPr>
          <a:xfrm>
            <a:off x="5017134" y="1894134"/>
            <a:ext cx="478155" cy="157469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97D20C0E-F080-2227-DB4C-B3D531187D7E}"/>
              </a:ext>
            </a:extLst>
          </p:cNvPr>
          <p:cNvSpPr/>
          <p:nvPr/>
        </p:nvSpPr>
        <p:spPr>
          <a:xfrm>
            <a:off x="4643437" y="2186779"/>
            <a:ext cx="919929" cy="157469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49C335C1-291D-C161-7235-5ED0C5E324B6}"/>
              </a:ext>
            </a:extLst>
          </p:cNvPr>
          <p:cNvCxnSpPr>
            <a:cxnSpLocks/>
          </p:cNvCxnSpPr>
          <p:nvPr/>
        </p:nvCxnSpPr>
        <p:spPr>
          <a:xfrm>
            <a:off x="5051425" y="990516"/>
            <a:ext cx="0" cy="144312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706656AB-7F91-BDE5-BE9C-82AB6489C22E}"/>
              </a:ext>
            </a:extLst>
          </p:cNvPr>
          <p:cNvCxnSpPr>
            <a:cxnSpLocks/>
          </p:cNvCxnSpPr>
          <p:nvPr/>
        </p:nvCxnSpPr>
        <p:spPr>
          <a:xfrm>
            <a:off x="5519104" y="990516"/>
            <a:ext cx="0" cy="1443122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extBox 201">
            <a:extLst>
              <a:ext uri="{FF2B5EF4-FFF2-40B4-BE49-F238E27FC236}">
                <a16:creationId xmlns:a16="http://schemas.microsoft.com/office/drawing/2014/main" id="{E6D00770-5E84-811F-BD20-6BFA556E233F}"/>
              </a:ext>
            </a:extLst>
          </p:cNvPr>
          <p:cNvSpPr txBox="1"/>
          <p:nvPr/>
        </p:nvSpPr>
        <p:spPr>
          <a:xfrm>
            <a:off x="4867275" y="2420277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rgbClr val="FF0000"/>
                </a:solidFill>
              </a:rPr>
              <a:t>CMP</a:t>
            </a:r>
            <a:endParaRPr lang="en-IN" dirty="0">
              <a:solidFill>
                <a:srgbClr val="FF0000"/>
              </a:solidFill>
            </a:endParaRP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55BEA99B-683D-4F96-AEB7-246AFEADB24F}"/>
              </a:ext>
            </a:extLst>
          </p:cNvPr>
          <p:cNvSpPr txBox="1"/>
          <p:nvPr/>
        </p:nvSpPr>
        <p:spPr>
          <a:xfrm>
            <a:off x="5314314" y="2420277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rgbClr val="00B050"/>
                </a:solidFill>
              </a:rPr>
              <a:t>TMP</a:t>
            </a:r>
            <a:endParaRPr lang="en-IN" dirty="0">
              <a:solidFill>
                <a:srgbClr val="00B050"/>
              </a:solidFill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46DBB372-DCAE-E1A2-62A4-1F59A90E7B80}"/>
              </a:ext>
            </a:extLst>
          </p:cNvPr>
          <p:cNvSpPr/>
          <p:nvPr/>
        </p:nvSpPr>
        <p:spPr>
          <a:xfrm>
            <a:off x="106680" y="465407"/>
            <a:ext cx="6365239" cy="2144756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DBFFB98D-54E0-8CD8-A907-7FCC89D3C4F2}"/>
              </a:ext>
            </a:extLst>
          </p:cNvPr>
          <p:cNvSpPr txBox="1"/>
          <p:nvPr/>
        </p:nvSpPr>
        <p:spPr>
          <a:xfrm>
            <a:off x="6566250" y="516180"/>
            <a:ext cx="2417344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IN" sz="900" dirty="0"/>
              <a:t>As of 16</a:t>
            </a:r>
            <a:r>
              <a:rPr lang="en-IN" sz="900" baseline="30000" dirty="0"/>
              <a:t>th</a:t>
            </a:r>
            <a:r>
              <a:rPr lang="en-IN" sz="900" dirty="0"/>
              <a:t> September 2024, </a:t>
            </a:r>
            <a:r>
              <a:rPr lang="en-IN" sz="900" b="1" dirty="0">
                <a:solidFill>
                  <a:srgbClr val="FF0000"/>
                </a:solidFill>
              </a:rPr>
              <a:t>the Current Market Price (CMP) is INR 552.</a:t>
            </a:r>
            <a:r>
              <a:rPr lang="en-IN" sz="900" dirty="0">
                <a:solidFill>
                  <a:srgbClr val="FF0000"/>
                </a:solidFill>
              </a:rPr>
              <a:t> </a:t>
            </a:r>
          </a:p>
          <a:p>
            <a:endParaRPr lang="en-IN" sz="900" dirty="0"/>
          </a:p>
          <a:p>
            <a:r>
              <a:rPr lang="en-IN" sz="900" dirty="0"/>
              <a:t>As part of Discounted Cash Flow Model, the </a:t>
            </a:r>
            <a:r>
              <a:rPr lang="en-IN" sz="900" b="1" dirty="0">
                <a:solidFill>
                  <a:srgbClr val="00B050"/>
                </a:solidFill>
              </a:rPr>
              <a:t>Target Market Price is INR 658.</a:t>
            </a:r>
          </a:p>
          <a:p>
            <a:endParaRPr lang="en-IN" sz="900" dirty="0"/>
          </a:p>
          <a:p>
            <a:r>
              <a:rPr lang="en-IN" sz="900" dirty="0"/>
              <a:t>Thus, </a:t>
            </a:r>
            <a:r>
              <a:rPr lang="en-IN" sz="900" b="1" dirty="0"/>
              <a:t>the uptick in the valuation </a:t>
            </a:r>
            <a:r>
              <a:rPr lang="en-IN" sz="900" dirty="0"/>
              <a:t>suggested by the analysis </a:t>
            </a:r>
            <a:r>
              <a:rPr lang="en-IN" sz="900" b="1" dirty="0"/>
              <a:t>is around 17%.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6C6DAD35-F639-8B40-7C7D-1934439D31BF}"/>
              </a:ext>
            </a:extLst>
          </p:cNvPr>
          <p:cNvSpPr txBox="1"/>
          <p:nvPr/>
        </p:nvSpPr>
        <p:spPr>
          <a:xfrm>
            <a:off x="4643437" y="990331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</a:rPr>
              <a:t>510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1AF29C78-8860-C933-7390-E18845EF3423}"/>
              </a:ext>
            </a:extLst>
          </p:cNvPr>
          <p:cNvSpPr txBox="1"/>
          <p:nvPr/>
        </p:nvSpPr>
        <p:spPr>
          <a:xfrm>
            <a:off x="5950321" y="979789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</a:rPr>
              <a:t>849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08464E09-6D9B-E58A-9318-C198222029BC}"/>
              </a:ext>
            </a:extLst>
          </p:cNvPr>
          <p:cNvSpPr txBox="1"/>
          <p:nvPr/>
        </p:nvSpPr>
        <p:spPr>
          <a:xfrm>
            <a:off x="4050807" y="1227158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</a:rPr>
              <a:t>325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4B808CDD-BE52-E7FD-9A18-9B1D392DE95E}"/>
              </a:ext>
            </a:extLst>
          </p:cNvPr>
          <p:cNvSpPr txBox="1"/>
          <p:nvPr/>
        </p:nvSpPr>
        <p:spPr>
          <a:xfrm>
            <a:off x="5519103" y="2157791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</a:rPr>
              <a:t>660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8DDDBC77-ADE2-F5F4-9DBA-F7FC03712C64}"/>
              </a:ext>
            </a:extLst>
          </p:cNvPr>
          <p:cNvSpPr txBox="1"/>
          <p:nvPr/>
        </p:nvSpPr>
        <p:spPr>
          <a:xfrm>
            <a:off x="4119754" y="1531095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</a:rPr>
              <a:t>366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7571B5B2-ADB4-16B6-AA64-180EA418D561}"/>
              </a:ext>
            </a:extLst>
          </p:cNvPr>
          <p:cNvSpPr txBox="1"/>
          <p:nvPr/>
        </p:nvSpPr>
        <p:spPr>
          <a:xfrm>
            <a:off x="4694426" y="1531113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</a:rPr>
              <a:t>448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CED838B7-91D7-6A76-699C-F3227BC7BDF0}"/>
              </a:ext>
            </a:extLst>
          </p:cNvPr>
          <p:cNvSpPr txBox="1"/>
          <p:nvPr/>
        </p:nvSpPr>
        <p:spPr>
          <a:xfrm>
            <a:off x="4718609" y="1871008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</a:rPr>
              <a:t>532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4A997290-AA60-DFF4-E85B-D1479BF82085}"/>
              </a:ext>
            </a:extLst>
          </p:cNvPr>
          <p:cNvSpPr txBox="1"/>
          <p:nvPr/>
        </p:nvSpPr>
        <p:spPr>
          <a:xfrm>
            <a:off x="5473042" y="1860370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</a:rPr>
              <a:t>650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3AC18C87-528A-B345-D277-C945B7A831CA}"/>
              </a:ext>
            </a:extLst>
          </p:cNvPr>
          <p:cNvSpPr txBox="1"/>
          <p:nvPr/>
        </p:nvSpPr>
        <p:spPr>
          <a:xfrm>
            <a:off x="4349843" y="2167391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</a:rPr>
              <a:t>406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A4C2D665-FA98-6DBA-51A2-69CE4D3CCF01}"/>
              </a:ext>
            </a:extLst>
          </p:cNvPr>
          <p:cNvSpPr txBox="1"/>
          <p:nvPr/>
        </p:nvSpPr>
        <p:spPr>
          <a:xfrm>
            <a:off x="5103401" y="1224433"/>
            <a:ext cx="447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</a:rPr>
              <a:t>580</a:t>
            </a:r>
            <a:endParaRPr lang="en-IN" dirty="0">
              <a:solidFill>
                <a:schemeClr val="tx1"/>
              </a:solidFill>
            </a:endParaRPr>
          </a:p>
        </p:txBody>
      </p:sp>
      <p:graphicFrame>
        <p:nvGraphicFramePr>
          <p:cNvPr id="217" name="Table 216">
            <a:extLst>
              <a:ext uri="{FF2B5EF4-FFF2-40B4-BE49-F238E27FC236}">
                <a16:creationId xmlns:a16="http://schemas.microsoft.com/office/drawing/2014/main" id="{0EE74912-4DF7-BB03-C2DD-2D6D0E81FA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831882"/>
              </p:ext>
            </p:extLst>
          </p:nvPr>
        </p:nvGraphicFramePr>
        <p:xfrm>
          <a:off x="106680" y="2832741"/>
          <a:ext cx="5523990" cy="2045648"/>
        </p:xfrm>
        <a:graphic>
          <a:graphicData uri="http://schemas.openxmlformats.org/drawingml/2006/table">
            <a:tbl>
              <a:tblPr>
                <a:tableStyleId>{98C629C4-6431-425F-B77E-08276FAF528A}</a:tableStyleId>
              </a:tblPr>
              <a:tblGrid>
                <a:gridCol w="560574">
                  <a:extLst>
                    <a:ext uri="{9D8B030D-6E8A-4147-A177-3AD203B41FA5}">
                      <a16:colId xmlns:a16="http://schemas.microsoft.com/office/drawing/2014/main" val="244029348"/>
                    </a:ext>
                  </a:extLst>
                </a:gridCol>
                <a:gridCol w="2055438">
                  <a:extLst>
                    <a:ext uri="{9D8B030D-6E8A-4147-A177-3AD203B41FA5}">
                      <a16:colId xmlns:a16="http://schemas.microsoft.com/office/drawing/2014/main" val="4039310359"/>
                    </a:ext>
                  </a:extLst>
                </a:gridCol>
                <a:gridCol w="1062755">
                  <a:extLst>
                    <a:ext uri="{9D8B030D-6E8A-4147-A177-3AD203B41FA5}">
                      <a16:colId xmlns:a16="http://schemas.microsoft.com/office/drawing/2014/main" val="1874205204"/>
                    </a:ext>
                  </a:extLst>
                </a:gridCol>
                <a:gridCol w="817503">
                  <a:extLst>
                    <a:ext uri="{9D8B030D-6E8A-4147-A177-3AD203B41FA5}">
                      <a16:colId xmlns:a16="http://schemas.microsoft.com/office/drawing/2014/main" val="1381101346"/>
                    </a:ext>
                  </a:extLst>
                </a:gridCol>
                <a:gridCol w="1027720">
                  <a:extLst>
                    <a:ext uri="{9D8B030D-6E8A-4147-A177-3AD203B41FA5}">
                      <a16:colId xmlns:a16="http://schemas.microsoft.com/office/drawing/2014/main" val="2279476047"/>
                    </a:ext>
                  </a:extLst>
                </a:gridCol>
              </a:tblGrid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1" u="none" strike="noStrike" dirty="0">
                          <a:effectLst/>
                        </a:rPr>
                        <a:t>S.N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1" u="none" strike="noStrike" dirty="0">
                          <a:effectLst/>
                        </a:rPr>
                        <a:t>Firm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1" u="none" strike="noStrike" dirty="0">
                          <a:effectLst/>
                        </a:rPr>
                        <a:t>Recommendation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1" u="none" strike="noStrike">
                          <a:effectLst/>
                        </a:rPr>
                        <a:t>Target Price</a:t>
                      </a:r>
                      <a:endParaRPr lang="en-GB" sz="7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1" u="none" strike="noStrike" dirty="0">
                          <a:effectLst/>
                        </a:rPr>
                        <a:t>Date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8045115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 dirty="0">
                          <a:effectLst/>
                        </a:rPr>
                        <a:t>HSBC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buy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60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2-Sep-24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1304030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 dirty="0">
                          <a:effectLst/>
                        </a:rPr>
                        <a:t>ICICI Securities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add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480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27-Aug-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73161937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3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 dirty="0">
                          <a:effectLst/>
                        </a:rPr>
                        <a:t>ULJK Financial Service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buy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53.6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26-Aug-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1772684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 dirty="0">
                          <a:effectLst/>
                        </a:rPr>
                        <a:t>JM Financial Institutional Securities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buy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571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25-Aug-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0974696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 dirty="0">
                          <a:effectLst/>
                        </a:rPr>
                        <a:t>SMIFS Limited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accumulate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71.4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22-Aug-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575595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6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 dirty="0">
                          <a:effectLst/>
                        </a:rPr>
                        <a:t>Kotak Securities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add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85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09-Aug-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53723693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7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Dalal &amp; Broacha Stock Broking P. Lt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hold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477.8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09-Aug-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9180929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8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>
                          <a:effectLst/>
                        </a:rPr>
                        <a:t>Avendus Spark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buy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480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09-Aug-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53470109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9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 dirty="0">
                          <a:effectLst/>
                        </a:rPr>
                        <a:t>IIFL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buy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12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09-Aug-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33020500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0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>
                          <a:effectLst/>
                        </a:rPr>
                        <a:t>Mirae Asset Securities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add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87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08-Aug-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7110816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1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>
                          <a:effectLst/>
                        </a:rPr>
                        <a:t>Prabhudas Lilladher Pvt.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buy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80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08-Aug-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1380592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2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>
                          <a:effectLst/>
                        </a:rPr>
                        <a:t>Anand Rathi Securities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buy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74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08-Aug-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2265657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3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>
                          <a:effectLst/>
                        </a:rPr>
                        <a:t>Ambit Capital Pvt Ltd.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buy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78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08-Aug-24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7227627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4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>
                          <a:effectLst/>
                        </a:rPr>
                        <a:t>Nuvama Wealth Management Limited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buy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12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08-Aug-24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92745716"/>
                  </a:ext>
                </a:extLst>
              </a:tr>
              <a:tr h="127853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5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 dirty="0">
                          <a:effectLst/>
                        </a:rPr>
                        <a:t>Asian Markets Securities Pvt Ltd.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accumulate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06.4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9-May-24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2897908"/>
                  </a:ext>
                </a:extLst>
              </a:tr>
            </a:tbl>
          </a:graphicData>
        </a:graphic>
      </p:graphicFrame>
      <p:sp>
        <p:nvSpPr>
          <p:cNvPr id="218" name="Rectangle 217">
            <a:extLst>
              <a:ext uri="{FF2B5EF4-FFF2-40B4-BE49-F238E27FC236}">
                <a16:creationId xmlns:a16="http://schemas.microsoft.com/office/drawing/2014/main" id="{9736D503-8881-6FBF-C7BB-91FCDB9C5FDF}"/>
              </a:ext>
            </a:extLst>
          </p:cNvPr>
          <p:cNvSpPr/>
          <p:nvPr/>
        </p:nvSpPr>
        <p:spPr>
          <a:xfrm>
            <a:off x="111634" y="2651054"/>
            <a:ext cx="6359727" cy="152616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dirty="0"/>
              <a:t>Broker Estimates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4BBD7B46-363B-3C66-E389-49A5D5D2AA73}"/>
              </a:ext>
            </a:extLst>
          </p:cNvPr>
          <p:cNvSpPr/>
          <p:nvPr/>
        </p:nvSpPr>
        <p:spPr>
          <a:xfrm>
            <a:off x="5676782" y="3250411"/>
            <a:ext cx="774481" cy="247327"/>
          </a:xfrm>
          <a:prstGeom prst="rect">
            <a:avLst/>
          </a:prstGeom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800" dirty="0">
                <a:solidFill>
                  <a:schemeClr val="tx1"/>
                </a:solidFill>
              </a:rPr>
              <a:t>Mean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C07B2619-FD5D-F66D-0C58-6CA3BDAEA14B}"/>
              </a:ext>
            </a:extLst>
          </p:cNvPr>
          <p:cNvSpPr/>
          <p:nvPr/>
        </p:nvSpPr>
        <p:spPr>
          <a:xfrm>
            <a:off x="6084120" y="3250410"/>
            <a:ext cx="367143" cy="24622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02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A0D4B4C9-072F-A3BB-4756-75C914138F63}"/>
              </a:ext>
            </a:extLst>
          </p:cNvPr>
          <p:cNvSpPr/>
          <p:nvPr/>
        </p:nvSpPr>
        <p:spPr>
          <a:xfrm>
            <a:off x="5679270" y="3860015"/>
            <a:ext cx="774481" cy="247327"/>
          </a:xfrm>
          <a:prstGeom prst="rect">
            <a:avLst/>
          </a:prstGeom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800" dirty="0">
                <a:solidFill>
                  <a:schemeClr val="tx1"/>
                </a:solidFill>
              </a:rPr>
              <a:t>High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21F60C05-879A-8B0B-EF3D-612FED277459}"/>
              </a:ext>
            </a:extLst>
          </p:cNvPr>
          <p:cNvSpPr/>
          <p:nvPr/>
        </p:nvSpPr>
        <p:spPr>
          <a:xfrm>
            <a:off x="6086608" y="3860014"/>
            <a:ext cx="367143" cy="24622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60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4D2777FB-2498-14E7-9177-8C571DD08C2A}"/>
              </a:ext>
            </a:extLst>
          </p:cNvPr>
          <p:cNvSpPr/>
          <p:nvPr/>
        </p:nvSpPr>
        <p:spPr>
          <a:xfrm>
            <a:off x="5688367" y="4468513"/>
            <a:ext cx="774481" cy="247327"/>
          </a:xfrm>
          <a:prstGeom prst="rect">
            <a:avLst/>
          </a:prstGeom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800" dirty="0">
                <a:solidFill>
                  <a:schemeClr val="tx1"/>
                </a:solidFill>
              </a:rPr>
              <a:t>Low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9B8FF1E5-53B3-A8AD-02DD-070F63B554D4}"/>
              </a:ext>
            </a:extLst>
          </p:cNvPr>
          <p:cNvSpPr/>
          <p:nvPr/>
        </p:nvSpPr>
        <p:spPr>
          <a:xfrm>
            <a:off x="6095705" y="4468512"/>
            <a:ext cx="367143" cy="24622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06</a:t>
            </a:r>
          </a:p>
        </p:txBody>
      </p:sp>
      <p:graphicFrame>
        <p:nvGraphicFramePr>
          <p:cNvPr id="227" name="Table 226">
            <a:extLst>
              <a:ext uri="{FF2B5EF4-FFF2-40B4-BE49-F238E27FC236}">
                <a16:creationId xmlns:a16="http://schemas.microsoft.com/office/drawing/2014/main" id="{1338F354-4F45-E713-552E-2FFAAFBA45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4291001"/>
              </p:ext>
            </p:extLst>
          </p:nvPr>
        </p:nvGraphicFramePr>
        <p:xfrm>
          <a:off x="6566250" y="2003236"/>
          <a:ext cx="2466116" cy="2761237"/>
        </p:xfrm>
        <a:graphic>
          <a:graphicData uri="http://schemas.openxmlformats.org/drawingml/2006/table">
            <a:tbl>
              <a:tblPr>
                <a:tableStyleId>{98C629C4-6431-425F-B77E-08276FAF528A}</a:tableStyleId>
              </a:tblPr>
              <a:tblGrid>
                <a:gridCol w="933125">
                  <a:extLst>
                    <a:ext uri="{9D8B030D-6E8A-4147-A177-3AD203B41FA5}">
                      <a16:colId xmlns:a16="http://schemas.microsoft.com/office/drawing/2014/main" val="466947913"/>
                    </a:ext>
                  </a:extLst>
                </a:gridCol>
                <a:gridCol w="1059023">
                  <a:extLst>
                    <a:ext uri="{9D8B030D-6E8A-4147-A177-3AD203B41FA5}">
                      <a16:colId xmlns:a16="http://schemas.microsoft.com/office/drawing/2014/main" val="2445744808"/>
                    </a:ext>
                  </a:extLst>
                </a:gridCol>
                <a:gridCol w="473968">
                  <a:extLst>
                    <a:ext uri="{9D8B030D-6E8A-4147-A177-3AD203B41FA5}">
                      <a16:colId xmlns:a16="http://schemas.microsoft.com/office/drawing/2014/main" val="952116740"/>
                    </a:ext>
                  </a:extLst>
                </a:gridCol>
              </a:tblGrid>
              <a:tr h="172300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effectLst/>
                        </a:rPr>
                        <a:t>Cost of Equity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2658789"/>
                  </a:ext>
                </a:extLst>
              </a:tr>
              <a:tr h="1665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Risk Free Rate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7.37%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65287924"/>
                  </a:ext>
                </a:extLst>
              </a:tr>
              <a:tr h="1665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Beta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39.00%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1146286"/>
                  </a:ext>
                </a:extLst>
              </a:tr>
              <a:tr h="1665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Equity Risk Premium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8.33%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652400"/>
                  </a:ext>
                </a:extLst>
              </a:tr>
              <a:tr h="1665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>
                          <a:effectLst/>
                        </a:rPr>
                        <a:t> 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US ERP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>
                          <a:effectLst/>
                        </a:rPr>
                        <a:t>5.00%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2556832"/>
                  </a:ext>
                </a:extLst>
              </a:tr>
              <a:tr h="1665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>
                          <a:effectLst/>
                        </a:rPr>
                        <a:t> 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Country risk premium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3.33%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1980674"/>
                  </a:ext>
                </a:extLst>
              </a:tr>
              <a:tr h="1665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Ke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>
                          <a:effectLst/>
                        </a:rPr>
                        <a:t>10.61%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3101259"/>
                  </a:ext>
                </a:extLst>
              </a:tr>
              <a:tr h="230684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>
                          <a:effectLst/>
                        </a:rPr>
                        <a:t>Equity Proportion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57.47%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519943"/>
                  </a:ext>
                </a:extLst>
              </a:tr>
              <a:tr h="172300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effectLst/>
                        </a:rPr>
                        <a:t>Cost of Debt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3530337"/>
                  </a:ext>
                </a:extLst>
              </a:tr>
              <a:tr h="1665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Pre-tax cost of debt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8.13%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09601132"/>
                  </a:ext>
                </a:extLst>
              </a:tr>
              <a:tr h="1665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>
                          <a:effectLst/>
                        </a:rPr>
                        <a:t>Tax Rate</a:t>
                      </a:r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24.13%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9340933"/>
                  </a:ext>
                </a:extLst>
              </a:tr>
              <a:tr h="1665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 err="1">
                          <a:effectLst/>
                        </a:rPr>
                        <a:t>Kd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6.17%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8125672"/>
                  </a:ext>
                </a:extLst>
              </a:tr>
              <a:tr h="1665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Debt Proportion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u="none" strike="noStrike" dirty="0">
                          <a:effectLst/>
                        </a:rPr>
                        <a:t>42.53%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517924"/>
                  </a:ext>
                </a:extLst>
              </a:tr>
              <a:tr h="178044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effectLst/>
                        </a:rPr>
                        <a:t>WACC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effectLst/>
                        </a:rPr>
                        <a:t> 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effectLst/>
                        </a:rPr>
                        <a:t>8.72%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82911"/>
                  </a:ext>
                </a:extLst>
              </a:tr>
            </a:tbl>
          </a:graphicData>
        </a:graphic>
      </p:graphicFrame>
      <p:sp>
        <p:nvSpPr>
          <p:cNvPr id="228" name="Rectangle 227">
            <a:extLst>
              <a:ext uri="{FF2B5EF4-FFF2-40B4-BE49-F238E27FC236}">
                <a16:creationId xmlns:a16="http://schemas.microsoft.com/office/drawing/2014/main" id="{A6226D27-2D63-558F-7939-42F107801399}"/>
              </a:ext>
            </a:extLst>
          </p:cNvPr>
          <p:cNvSpPr/>
          <p:nvPr/>
        </p:nvSpPr>
        <p:spPr>
          <a:xfrm>
            <a:off x="6566250" y="1815476"/>
            <a:ext cx="2466116" cy="152616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dirty="0"/>
              <a:t>WACC Calculation</a:t>
            </a:r>
          </a:p>
        </p:txBody>
      </p:sp>
    </p:spTree>
    <p:extLst>
      <p:ext uri="{BB962C8B-B14F-4D97-AF65-F5344CB8AC3E}">
        <p14:creationId xmlns:p14="http://schemas.microsoft.com/office/powerpoint/2010/main" val="27710800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C9836B9-73EB-E5F1-DE87-0E9C2F784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3" progId="TCLayout.ActiveDocument.1">
                  <p:embed/>
                </p:oleObj>
              </mc:Choice>
              <mc:Fallback>
                <p:oleObj name="think-cell Slide" r:id="rId4" imgW="471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836B9-73EB-E5F1-DE87-0E9C2F784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Google Shape;196;p23"/>
          <p:cNvSpPr txBox="1"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453150" y="57599"/>
            <a:ext cx="8237700" cy="28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Valuation</a:t>
            </a:r>
            <a:endParaRPr dirty="0"/>
          </a:p>
        </p:txBody>
      </p:sp>
      <p:cxnSp>
        <p:nvCxnSpPr>
          <p:cNvPr id="1120" name="Straight Connector 1119">
            <a:extLst>
              <a:ext uri="{FF2B5EF4-FFF2-40B4-BE49-F238E27FC236}">
                <a16:creationId xmlns:a16="http://schemas.microsoft.com/office/drawing/2014/main" id="{EF4F6817-1C49-8ACF-A6FF-350E93ECF197}"/>
              </a:ext>
            </a:extLst>
          </p:cNvPr>
          <p:cNvCxnSpPr/>
          <p:nvPr/>
        </p:nvCxnSpPr>
        <p:spPr>
          <a:xfrm>
            <a:off x="-1" y="4912668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1" name="TextBox 1120">
            <a:extLst>
              <a:ext uri="{FF2B5EF4-FFF2-40B4-BE49-F238E27FC236}">
                <a16:creationId xmlns:a16="http://schemas.microsoft.com/office/drawing/2014/main" id="{AE487B77-0812-D495-2763-E3EAAF0D9347}"/>
              </a:ext>
            </a:extLst>
          </p:cNvPr>
          <p:cNvSpPr txBox="1"/>
          <p:nvPr/>
        </p:nvSpPr>
        <p:spPr>
          <a:xfrm>
            <a:off x="-1" y="4912668"/>
            <a:ext cx="89514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rce – Annual Report FY 23-24, </a:t>
            </a:r>
            <a:r>
              <a:rPr lang="en-I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jori</a:t>
            </a:r>
            <a:r>
              <a:rPr lang="en-I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inance, Bloomberg, Screener, Refinitiv, Broker Reports - Credit Suisse, ICICI Securities, JM Financial</a:t>
            </a:r>
          </a:p>
        </p:txBody>
      </p:sp>
      <p:pic>
        <p:nvPicPr>
          <p:cNvPr id="1124" name="Picture 1123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2744C195-5DC2-9E4E-F9BE-3E97E2F1F7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29783" y="20220"/>
            <a:ext cx="722134" cy="32219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EC0E9C5-9392-0674-023B-7741FCA43E82}"/>
              </a:ext>
            </a:extLst>
          </p:cNvPr>
          <p:cNvSpPr/>
          <p:nvPr/>
        </p:nvSpPr>
        <p:spPr>
          <a:xfrm>
            <a:off x="106680" y="465588"/>
            <a:ext cx="6278879" cy="250202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dirty="0"/>
              <a:t>Multiples comparison across industry peer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57C8E5E-4EC3-55B4-C1F5-7F1A58EFBD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9147579"/>
              </p:ext>
            </p:extLst>
          </p:nvPr>
        </p:nvGraphicFramePr>
        <p:xfrm>
          <a:off x="106680" y="749699"/>
          <a:ext cx="6278879" cy="1382047"/>
        </p:xfrm>
        <a:graphic>
          <a:graphicData uri="http://schemas.openxmlformats.org/drawingml/2006/table">
            <a:tbl>
              <a:tblPr>
                <a:tableStyleId>{98C629C4-6431-425F-B77E-08276FAF528A}</a:tableStyleId>
              </a:tblPr>
              <a:tblGrid>
                <a:gridCol w="1869614">
                  <a:extLst>
                    <a:ext uri="{9D8B030D-6E8A-4147-A177-3AD203B41FA5}">
                      <a16:colId xmlns:a16="http://schemas.microsoft.com/office/drawing/2014/main" val="734781611"/>
                    </a:ext>
                  </a:extLst>
                </a:gridCol>
                <a:gridCol w="1167159">
                  <a:extLst>
                    <a:ext uri="{9D8B030D-6E8A-4147-A177-3AD203B41FA5}">
                      <a16:colId xmlns:a16="http://schemas.microsoft.com/office/drawing/2014/main" val="3063932181"/>
                    </a:ext>
                  </a:extLst>
                </a:gridCol>
                <a:gridCol w="1145544">
                  <a:extLst>
                    <a:ext uri="{9D8B030D-6E8A-4147-A177-3AD203B41FA5}">
                      <a16:colId xmlns:a16="http://schemas.microsoft.com/office/drawing/2014/main" val="800054418"/>
                    </a:ext>
                  </a:extLst>
                </a:gridCol>
                <a:gridCol w="518738">
                  <a:extLst>
                    <a:ext uri="{9D8B030D-6E8A-4147-A177-3AD203B41FA5}">
                      <a16:colId xmlns:a16="http://schemas.microsoft.com/office/drawing/2014/main" val="2715260064"/>
                    </a:ext>
                  </a:extLst>
                </a:gridCol>
                <a:gridCol w="864562">
                  <a:extLst>
                    <a:ext uri="{9D8B030D-6E8A-4147-A177-3AD203B41FA5}">
                      <a16:colId xmlns:a16="http://schemas.microsoft.com/office/drawing/2014/main" val="1693517326"/>
                    </a:ext>
                  </a:extLst>
                </a:gridCol>
                <a:gridCol w="713262">
                  <a:extLst>
                    <a:ext uri="{9D8B030D-6E8A-4147-A177-3AD203B41FA5}">
                      <a16:colId xmlns:a16="http://schemas.microsoft.com/office/drawing/2014/main" val="4127578069"/>
                    </a:ext>
                  </a:extLst>
                </a:gridCol>
              </a:tblGrid>
              <a:tr h="28961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u="none" strike="noStrike" dirty="0">
                          <a:effectLst/>
                        </a:rPr>
                        <a:t>Company Name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effectLst/>
                        </a:rPr>
                        <a:t>Market Cap</a:t>
                      </a:r>
                      <a:br>
                        <a:rPr lang="en-US" sz="800" b="1" u="none" strike="noStrike" dirty="0">
                          <a:effectLst/>
                        </a:rPr>
                      </a:br>
                      <a:r>
                        <a:rPr lang="en-US" sz="800" b="1" u="none" strike="noStrike" dirty="0">
                          <a:effectLst/>
                        </a:rPr>
                        <a:t>(Cr INR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u="none" strike="noStrike" dirty="0">
                          <a:effectLst/>
                        </a:rPr>
                        <a:t>Enterprise Value</a:t>
                      </a:r>
                      <a:br>
                        <a:rPr lang="en-GB" sz="800" b="1" u="none" strike="noStrike" dirty="0">
                          <a:effectLst/>
                        </a:rPr>
                      </a:br>
                      <a:r>
                        <a:rPr lang="en-GB" sz="800" b="1" u="none" strike="noStrike" dirty="0">
                          <a:effectLst/>
                        </a:rPr>
                        <a:t>(Cr INR)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u="none" strike="noStrike" dirty="0">
                          <a:effectLst/>
                        </a:rPr>
                        <a:t>P/E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u="none" strike="noStrike" dirty="0">
                          <a:effectLst/>
                        </a:rPr>
                        <a:t>P/B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u="none" strike="noStrike" dirty="0">
                          <a:effectLst/>
                        </a:rPr>
                        <a:t>EV/EBITDA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632150"/>
                  </a:ext>
                </a:extLst>
              </a:tr>
              <a:tr h="9947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u="none" strike="noStrike" dirty="0">
                          <a:effectLst/>
                        </a:rPr>
                        <a:t>KIMS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22101.67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23407.99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>
                          <a:effectLst/>
                        </a:rPr>
                        <a:t>69.95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12.09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44.69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6060222"/>
                  </a:ext>
                </a:extLst>
              </a:tr>
              <a:tr h="9947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u="none" strike="noStrike" dirty="0">
                          <a:effectLst/>
                        </a:rPr>
                        <a:t>Max Healthcare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88250.88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88450.56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>
                          <a:effectLst/>
                        </a:rPr>
                        <a:t>83.74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>
                          <a:effectLst/>
                        </a:rPr>
                        <a:t>10.5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>
                          <a:effectLst/>
                        </a:rPr>
                        <a:t>61.10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5508257"/>
                  </a:ext>
                </a:extLst>
              </a:tr>
              <a:tr h="9947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u="none" strike="noStrike">
                          <a:effectLst/>
                        </a:rPr>
                        <a:t>Narayana Hrudayalaya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26714.04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27924.27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33.12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9.26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>
                          <a:effectLst/>
                        </a:rPr>
                        <a:t>27.26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0769486"/>
                  </a:ext>
                </a:extLst>
              </a:tr>
              <a:tr h="9947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u="none" strike="noStrike" dirty="0">
                          <a:effectLst/>
                        </a:rPr>
                        <a:t>Apollo Hospitals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100924.61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105323.41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97.41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14.55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>
                          <a:effectLst/>
                        </a:rPr>
                        <a:t>52.71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43269863"/>
                  </a:ext>
                </a:extLst>
              </a:tr>
              <a:tr h="9947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u="none" strike="noStrike" dirty="0">
                          <a:effectLst/>
                        </a:rPr>
                        <a:t>Fortis Healthcare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44104.66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44661.27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68.70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5.76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43.06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3261321"/>
                  </a:ext>
                </a:extLst>
              </a:tr>
              <a:tr h="1945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u="none" strike="noStrike" dirty="0">
                          <a:effectLst/>
                        </a:rPr>
                        <a:t>Healthcare Global Enterprises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5894.42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6865.71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131.08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7.14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36.29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25525868"/>
                  </a:ext>
                </a:extLst>
              </a:tr>
              <a:tr h="9947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u="none" strike="noStrike" dirty="0" err="1">
                          <a:effectLst/>
                        </a:rPr>
                        <a:t>Shalby</a:t>
                      </a:r>
                      <a:r>
                        <a:rPr lang="en-GB" sz="800" u="none" strike="noStrike" dirty="0">
                          <a:effectLst/>
                        </a:rPr>
                        <a:t> 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3053.98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3404.62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39.45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3.05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23.16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7004600"/>
                  </a:ext>
                </a:extLst>
              </a:tr>
              <a:tr h="994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Average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 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 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74.78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8.91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41.18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79906670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480F890-F258-E123-F1EA-8F787F66F1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8882267"/>
              </p:ext>
            </p:extLst>
          </p:nvPr>
        </p:nvGraphicFramePr>
        <p:xfrm>
          <a:off x="6563360" y="662034"/>
          <a:ext cx="2291614" cy="1469712"/>
        </p:xfrm>
        <a:graphic>
          <a:graphicData uri="http://schemas.openxmlformats.org/drawingml/2006/table">
            <a:tbl>
              <a:tblPr>
                <a:tableStyleId>{98C629C4-6431-425F-B77E-08276FAF528A}</a:tableStyleId>
              </a:tblPr>
              <a:tblGrid>
                <a:gridCol w="1410851">
                  <a:extLst>
                    <a:ext uri="{9D8B030D-6E8A-4147-A177-3AD203B41FA5}">
                      <a16:colId xmlns:a16="http://schemas.microsoft.com/office/drawing/2014/main" val="681939017"/>
                    </a:ext>
                  </a:extLst>
                </a:gridCol>
                <a:gridCol w="880763">
                  <a:extLst>
                    <a:ext uri="{9D8B030D-6E8A-4147-A177-3AD203B41FA5}">
                      <a16:colId xmlns:a16="http://schemas.microsoft.com/office/drawing/2014/main" val="3864386806"/>
                    </a:ext>
                  </a:extLst>
                </a:gridCol>
              </a:tblGrid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Number of shares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4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858735"/>
                  </a:ext>
                </a:extLst>
              </a:tr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Book Price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45.7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6858029"/>
                  </a:ext>
                </a:extLst>
              </a:tr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EBIDTA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524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76929320"/>
                  </a:ext>
                </a:extLst>
              </a:tr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Revenue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2581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44907305"/>
                  </a:ext>
                </a:extLst>
              </a:tr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Revenue/Share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59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137512"/>
                  </a:ext>
                </a:extLst>
              </a:tr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Net Profit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344.55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9909313"/>
                  </a:ext>
                </a:extLst>
              </a:tr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EPS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7.9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1549800"/>
                  </a:ext>
                </a:extLst>
              </a:tr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1" u="none" strike="noStrike" dirty="0">
                          <a:effectLst/>
                        </a:rPr>
                        <a:t>Price using P/B ratio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1" u="none" strike="noStrike" dirty="0">
                          <a:effectLst/>
                        </a:rPr>
                        <a:t>407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41496964"/>
                  </a:ext>
                </a:extLst>
              </a:tr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1" u="none" strike="noStrike" dirty="0">
                          <a:effectLst/>
                        </a:rPr>
                        <a:t>Price using P/E ratio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1" u="none" strike="noStrike" dirty="0">
                          <a:effectLst/>
                        </a:rPr>
                        <a:t>591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4147739"/>
                  </a:ext>
                </a:extLst>
              </a:tr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Enterprise Value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1570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2351566"/>
                  </a:ext>
                </a:extLst>
              </a:tr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Debt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355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35138"/>
                  </a:ext>
                </a:extLst>
              </a:tr>
              <a:tr h="113352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Equity Value (EV - Debt)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0215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73393357"/>
                  </a:ext>
                </a:extLst>
              </a:tr>
              <a:tr h="948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1" u="none" strike="noStrike" dirty="0">
                          <a:effectLst/>
                        </a:rPr>
                        <a:t>Price using Enterprise Value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b="1" u="none" strike="noStrike" dirty="0">
                          <a:effectLst/>
                        </a:rPr>
                        <a:t>464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34043005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E0D80AF-E1FA-DDE5-DED0-2B2953DD3962}"/>
              </a:ext>
            </a:extLst>
          </p:cNvPr>
          <p:cNvSpPr/>
          <p:nvPr/>
        </p:nvSpPr>
        <p:spPr>
          <a:xfrm>
            <a:off x="6563360" y="465588"/>
            <a:ext cx="2291614" cy="1583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dirty="0"/>
              <a:t>CCM valuation for KIM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4471645-E0EF-3083-6FD0-71540C7084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2328583"/>
              </p:ext>
            </p:extLst>
          </p:nvPr>
        </p:nvGraphicFramePr>
        <p:xfrm>
          <a:off x="106680" y="2386021"/>
          <a:ext cx="6241735" cy="1349724"/>
        </p:xfrm>
        <a:graphic>
          <a:graphicData uri="http://schemas.openxmlformats.org/drawingml/2006/table">
            <a:tbl>
              <a:tblPr>
                <a:tableStyleId>{98C629C4-6431-425F-B77E-08276FAF528A}</a:tableStyleId>
              </a:tblPr>
              <a:tblGrid>
                <a:gridCol w="1256839">
                  <a:extLst>
                    <a:ext uri="{9D8B030D-6E8A-4147-A177-3AD203B41FA5}">
                      <a16:colId xmlns:a16="http://schemas.microsoft.com/office/drawing/2014/main" val="3742727659"/>
                    </a:ext>
                  </a:extLst>
                </a:gridCol>
                <a:gridCol w="475561">
                  <a:extLst>
                    <a:ext uri="{9D8B030D-6E8A-4147-A177-3AD203B41FA5}">
                      <a16:colId xmlns:a16="http://schemas.microsoft.com/office/drawing/2014/main" val="1178234388"/>
                    </a:ext>
                  </a:extLst>
                </a:gridCol>
                <a:gridCol w="501037">
                  <a:extLst>
                    <a:ext uri="{9D8B030D-6E8A-4147-A177-3AD203B41FA5}">
                      <a16:colId xmlns:a16="http://schemas.microsoft.com/office/drawing/2014/main" val="2794737883"/>
                    </a:ext>
                  </a:extLst>
                </a:gridCol>
                <a:gridCol w="518022">
                  <a:extLst>
                    <a:ext uri="{9D8B030D-6E8A-4147-A177-3AD203B41FA5}">
                      <a16:colId xmlns:a16="http://schemas.microsoft.com/office/drawing/2014/main" val="4217552408"/>
                    </a:ext>
                  </a:extLst>
                </a:gridCol>
                <a:gridCol w="475561">
                  <a:extLst>
                    <a:ext uri="{9D8B030D-6E8A-4147-A177-3AD203B41FA5}">
                      <a16:colId xmlns:a16="http://schemas.microsoft.com/office/drawing/2014/main" val="3868304288"/>
                    </a:ext>
                  </a:extLst>
                </a:gridCol>
                <a:gridCol w="475561">
                  <a:extLst>
                    <a:ext uri="{9D8B030D-6E8A-4147-A177-3AD203B41FA5}">
                      <a16:colId xmlns:a16="http://schemas.microsoft.com/office/drawing/2014/main" val="495745774"/>
                    </a:ext>
                  </a:extLst>
                </a:gridCol>
                <a:gridCol w="467068">
                  <a:extLst>
                    <a:ext uri="{9D8B030D-6E8A-4147-A177-3AD203B41FA5}">
                      <a16:colId xmlns:a16="http://schemas.microsoft.com/office/drawing/2014/main" val="3439271942"/>
                    </a:ext>
                  </a:extLst>
                </a:gridCol>
                <a:gridCol w="602942">
                  <a:extLst>
                    <a:ext uri="{9D8B030D-6E8A-4147-A177-3AD203B41FA5}">
                      <a16:colId xmlns:a16="http://schemas.microsoft.com/office/drawing/2014/main" val="1513880874"/>
                    </a:ext>
                  </a:extLst>
                </a:gridCol>
                <a:gridCol w="475561">
                  <a:extLst>
                    <a:ext uri="{9D8B030D-6E8A-4147-A177-3AD203B41FA5}">
                      <a16:colId xmlns:a16="http://schemas.microsoft.com/office/drawing/2014/main" val="2479110442"/>
                    </a:ext>
                  </a:extLst>
                </a:gridCol>
                <a:gridCol w="475561">
                  <a:extLst>
                    <a:ext uri="{9D8B030D-6E8A-4147-A177-3AD203B41FA5}">
                      <a16:colId xmlns:a16="http://schemas.microsoft.com/office/drawing/2014/main" val="2472979762"/>
                    </a:ext>
                  </a:extLst>
                </a:gridCol>
                <a:gridCol w="518022">
                  <a:extLst>
                    <a:ext uri="{9D8B030D-6E8A-4147-A177-3AD203B41FA5}">
                      <a16:colId xmlns:a16="http://schemas.microsoft.com/office/drawing/2014/main" val="824886669"/>
                    </a:ext>
                  </a:extLst>
                </a:gridCol>
              </a:tblGrid>
              <a:tr h="8113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Financial Head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FY20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FY21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FY22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FY23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FY24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FY25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FY26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FY27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FY28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FY29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11734"/>
                  </a:ext>
                </a:extLst>
              </a:tr>
              <a:tr h="81130">
                <a:tc>
                  <a:txBody>
                    <a:bodyPr/>
                    <a:lstStyle/>
                    <a:p>
                      <a:pPr algn="l" fontAlgn="ctr"/>
                      <a:r>
                        <a:rPr lang="en-GB" sz="700" u="none" strike="noStrike" dirty="0">
                          <a:effectLst/>
                        </a:rPr>
                        <a:t>Revenue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  1,123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   1,330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,651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2,198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2,498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3,361.58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,523.70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,087.58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8,192.11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1,024.18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6948845"/>
                  </a:ext>
                </a:extLst>
              </a:tr>
              <a:tr h="81130">
                <a:tc>
                  <a:txBody>
                    <a:bodyPr/>
                    <a:lstStyle/>
                    <a:p>
                      <a:pPr algn="l" fontAlgn="ctr"/>
                      <a:r>
                        <a:rPr lang="en-GB" sz="700" u="none" strike="noStrike" dirty="0">
                          <a:effectLst/>
                        </a:rPr>
                        <a:t>Operating Expenses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873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954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,129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,598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,853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,452.15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3,299.88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,440.67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,975.85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8,041.75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25988174"/>
                  </a:ext>
                </a:extLst>
              </a:tr>
              <a:tr h="81130">
                <a:tc>
                  <a:txBody>
                    <a:bodyPr/>
                    <a:lstStyle/>
                    <a:p>
                      <a:pPr algn="l" fontAlgn="ctr"/>
                      <a:r>
                        <a:rPr lang="en-GB" sz="700" u="none" strike="noStrike">
                          <a:effectLst/>
                        </a:rPr>
                        <a:t>Operating Profit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250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376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522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600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645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909.43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,223.82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,646.91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2,216.26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2,982.44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6860097"/>
                  </a:ext>
                </a:extLst>
              </a:tr>
              <a:tr h="81130">
                <a:tc>
                  <a:txBody>
                    <a:bodyPr/>
                    <a:lstStyle/>
                    <a:p>
                      <a:pPr algn="l" fontAlgn="ctr"/>
                      <a:r>
                        <a:rPr lang="en-GB" sz="700" u="none" strike="noStrike" dirty="0">
                          <a:effectLst/>
                        </a:rPr>
                        <a:t>Other Income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6.08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0.16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20.26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37.41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6.16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3.66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31.53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0.34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8.30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0.43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2941367"/>
                  </a:ext>
                </a:extLst>
              </a:tr>
              <a:tr h="81130">
                <a:tc>
                  <a:txBody>
                    <a:bodyPr/>
                    <a:lstStyle/>
                    <a:p>
                      <a:pPr algn="l" fontAlgn="ctr"/>
                      <a:r>
                        <a:rPr lang="en-GB" sz="700" u="none" strike="noStrike" dirty="0">
                          <a:effectLst/>
                        </a:rPr>
                        <a:t>EBIDTA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56.08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386.16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42.26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37.41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61.16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923.08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,255.35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,667.25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,264.56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3,002.86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35537857"/>
                  </a:ext>
                </a:extLst>
              </a:tr>
              <a:tr h="81130">
                <a:tc>
                  <a:txBody>
                    <a:bodyPr/>
                    <a:lstStyle/>
                    <a:p>
                      <a:pPr algn="l" fontAlgn="ctr"/>
                      <a:r>
                        <a:rPr lang="en-GB" sz="700" u="none" strike="noStrike" dirty="0">
                          <a:effectLst/>
                        </a:rPr>
                        <a:t>EBIDA = EBIDTA (1-Tax Rate)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09.86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84.37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08.18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81.01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82.93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700.39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952.49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,265.02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,718.23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,278.41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7976640"/>
                  </a:ext>
                </a:extLst>
              </a:tr>
              <a:tr h="81130">
                <a:tc>
                  <a:txBody>
                    <a:bodyPr/>
                    <a:lstStyle/>
                    <a:p>
                      <a:pPr algn="l" fontAlgn="ctr"/>
                      <a:r>
                        <a:rPr lang="en-GB" sz="700" u="none" strike="noStrike" dirty="0">
                          <a:effectLst/>
                        </a:rPr>
                        <a:t>Add: Depreciation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70.61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69.54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72.67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29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47.00 </a:t>
                      </a:r>
                      <a:endParaRPr lang="en-GB" sz="700" b="0" i="0" u="none" strike="noStrike" dirty="0">
                        <a:solidFill>
                          <a:srgbClr val="35343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67.51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190.89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217.52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247.87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700" u="none" strike="noStrike" dirty="0">
                          <a:effectLst/>
                        </a:rPr>
                        <a:t>282.46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1662684"/>
                  </a:ext>
                </a:extLst>
              </a:tr>
              <a:tr h="81130">
                <a:tc>
                  <a:txBody>
                    <a:bodyPr/>
                    <a:lstStyle/>
                    <a:p>
                      <a:pPr algn="l" fontAlgn="ctr"/>
                      <a:r>
                        <a:rPr lang="en-GB" sz="700" u="none" strike="noStrike" dirty="0">
                          <a:effectLst/>
                        </a:rPr>
                        <a:t>Less: Changes in WC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0.12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14.15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74.47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9.28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15.43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18.30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28.00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35.84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44.95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55.51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9344845"/>
                  </a:ext>
                </a:extLst>
              </a:tr>
              <a:tr h="81130">
                <a:tc>
                  <a:txBody>
                    <a:bodyPr/>
                    <a:lstStyle/>
                    <a:p>
                      <a:pPr algn="l" fontAlgn="ctr"/>
                      <a:r>
                        <a:rPr lang="en-GB" sz="700" u="none" strike="noStrike" dirty="0">
                          <a:effectLst/>
                        </a:rPr>
                        <a:t>Less: Capital Expenditures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51.47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93.58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170.00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572.00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646.00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710.60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781.66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859.83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945.81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1,040.39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56364841"/>
                  </a:ext>
                </a:extLst>
              </a:tr>
              <a:tr h="81130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FCFF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28.88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246.18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385.32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07.29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-31.50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39.00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333.71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86.87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975.34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1,464.96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54460583"/>
                  </a:ext>
                </a:extLst>
              </a:tr>
              <a:tr h="111290"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Terminal Value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 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 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 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 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 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 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 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 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 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1,307.87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797" marR="5797" marT="5797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97162206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31EFF5A-9201-298C-4667-FF4AECBA919A}"/>
              </a:ext>
            </a:extLst>
          </p:cNvPr>
          <p:cNvSpPr/>
          <p:nvPr/>
        </p:nvSpPr>
        <p:spPr>
          <a:xfrm>
            <a:off x="106680" y="2175440"/>
            <a:ext cx="6241735" cy="15829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dirty="0"/>
              <a:t>Free Cash Flows (Discounted Cash Flow Model)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D2EBDE9-D75D-0AE0-D0E2-7FD327FEED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7325816"/>
              </p:ext>
            </p:extLst>
          </p:nvPr>
        </p:nvGraphicFramePr>
        <p:xfrm>
          <a:off x="6500812" y="2376500"/>
          <a:ext cx="2581382" cy="1349724"/>
        </p:xfrm>
        <a:graphic>
          <a:graphicData uri="http://schemas.openxmlformats.org/drawingml/2006/table">
            <a:tbl>
              <a:tblPr>
                <a:tableStyleId>{98C629C4-6431-425F-B77E-08276FAF528A}</a:tableStyleId>
              </a:tblPr>
              <a:tblGrid>
                <a:gridCol w="162455">
                  <a:extLst>
                    <a:ext uri="{9D8B030D-6E8A-4147-A177-3AD203B41FA5}">
                      <a16:colId xmlns:a16="http://schemas.microsoft.com/office/drawing/2014/main" val="3080854642"/>
                    </a:ext>
                  </a:extLst>
                </a:gridCol>
                <a:gridCol w="345561">
                  <a:extLst>
                    <a:ext uri="{9D8B030D-6E8A-4147-A177-3AD203B41FA5}">
                      <a16:colId xmlns:a16="http://schemas.microsoft.com/office/drawing/2014/main" val="957019268"/>
                    </a:ext>
                  </a:extLst>
                </a:gridCol>
                <a:gridCol w="345561">
                  <a:extLst>
                    <a:ext uri="{9D8B030D-6E8A-4147-A177-3AD203B41FA5}">
                      <a16:colId xmlns:a16="http://schemas.microsoft.com/office/drawing/2014/main" val="4258019902"/>
                    </a:ext>
                  </a:extLst>
                </a:gridCol>
                <a:gridCol w="345561">
                  <a:extLst>
                    <a:ext uri="{9D8B030D-6E8A-4147-A177-3AD203B41FA5}">
                      <a16:colId xmlns:a16="http://schemas.microsoft.com/office/drawing/2014/main" val="2689800037"/>
                    </a:ext>
                  </a:extLst>
                </a:gridCol>
                <a:gridCol w="345561">
                  <a:extLst>
                    <a:ext uri="{9D8B030D-6E8A-4147-A177-3AD203B41FA5}">
                      <a16:colId xmlns:a16="http://schemas.microsoft.com/office/drawing/2014/main" val="3672681457"/>
                    </a:ext>
                  </a:extLst>
                </a:gridCol>
                <a:gridCol w="345561">
                  <a:extLst>
                    <a:ext uri="{9D8B030D-6E8A-4147-A177-3AD203B41FA5}">
                      <a16:colId xmlns:a16="http://schemas.microsoft.com/office/drawing/2014/main" val="2137885698"/>
                    </a:ext>
                  </a:extLst>
                </a:gridCol>
                <a:gridCol w="345561">
                  <a:extLst>
                    <a:ext uri="{9D8B030D-6E8A-4147-A177-3AD203B41FA5}">
                      <a16:colId xmlns:a16="http://schemas.microsoft.com/office/drawing/2014/main" val="1022989950"/>
                    </a:ext>
                  </a:extLst>
                </a:gridCol>
                <a:gridCol w="345561">
                  <a:extLst>
                    <a:ext uri="{9D8B030D-6E8A-4147-A177-3AD203B41FA5}">
                      <a16:colId xmlns:a16="http://schemas.microsoft.com/office/drawing/2014/main" val="997604783"/>
                    </a:ext>
                  </a:extLst>
                </a:gridCol>
              </a:tblGrid>
              <a:tr h="149274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 dirty="0">
                          <a:effectLst/>
                        </a:rPr>
                        <a:t> 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 dirty="0">
                          <a:effectLst/>
                        </a:rPr>
                        <a:t> 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GB" sz="700" b="1" u="none" strike="noStrike" dirty="0">
                          <a:effectLst/>
                        </a:rPr>
                        <a:t>WACC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953042"/>
                  </a:ext>
                </a:extLst>
              </a:tr>
              <a:tr h="200075">
                <a:tc>
                  <a:txBody>
                    <a:bodyPr/>
                    <a:lstStyle/>
                    <a:p>
                      <a:pPr algn="l" fontAlgn="b"/>
                      <a:r>
                        <a:rPr lang="en-GB" sz="700" u="none" strike="noStrike" dirty="0">
                          <a:effectLst/>
                        </a:rPr>
                        <a:t> 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8.32%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8.52%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8.72%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8.92%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9.12%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9.32%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258"/>
                  </a:ext>
                </a:extLst>
              </a:tr>
              <a:tr h="200075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700" b="1" u="none" strike="noStrike" dirty="0">
                          <a:effectLst/>
                        </a:rPr>
                        <a:t>Terminal Growth Rate</a:t>
                      </a:r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%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848.90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789.38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737.06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90.71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49.36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12.26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6763901"/>
                  </a:ext>
                </a:extLst>
              </a:tr>
              <a:tr h="200075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.20%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795.34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742.62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95.91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54.25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16.87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583.13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8880917"/>
                  </a:ext>
                </a:extLst>
              </a:tr>
              <a:tr h="200075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.00%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748.23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701.17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59.19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621.52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87.53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56.71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057597"/>
                  </a:ext>
                </a:extLst>
              </a:tr>
              <a:tr h="200075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.80%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706.47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664.18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626.22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91.97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60.91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32.62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17483264"/>
                  </a:ext>
                </a:extLst>
              </a:tr>
              <a:tr h="200075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4.60%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669.20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630.96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596.45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>
                          <a:effectLst/>
                        </a:rPr>
                        <a:t>565.15</a:t>
                      </a:r>
                      <a:endParaRPr lang="en-GB" sz="7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36.64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700" u="none" strike="noStrike" dirty="0">
                          <a:effectLst/>
                        </a:rPr>
                        <a:t>510.57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46759929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4ACC984C-6ACD-615B-879B-1C467930E23E}"/>
              </a:ext>
            </a:extLst>
          </p:cNvPr>
          <p:cNvSpPr/>
          <p:nvPr/>
        </p:nvSpPr>
        <p:spPr>
          <a:xfrm>
            <a:off x="6500812" y="2165919"/>
            <a:ext cx="2581382" cy="15829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dirty="0"/>
              <a:t>Sensitivity Analysis (DCF)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4F1C21D-6A75-7668-F0B0-535254FC69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800492"/>
              </p:ext>
            </p:extLst>
          </p:nvPr>
        </p:nvGraphicFramePr>
        <p:xfrm>
          <a:off x="106680" y="4040298"/>
          <a:ext cx="1613535" cy="532614"/>
        </p:xfrm>
        <a:graphic>
          <a:graphicData uri="http://schemas.openxmlformats.org/drawingml/2006/table">
            <a:tbl>
              <a:tblPr>
                <a:tableStyleId>{98C629C4-6431-425F-B77E-08276FAF528A}</a:tableStyleId>
              </a:tblPr>
              <a:tblGrid>
                <a:gridCol w="1122680">
                  <a:extLst>
                    <a:ext uri="{9D8B030D-6E8A-4147-A177-3AD203B41FA5}">
                      <a16:colId xmlns:a16="http://schemas.microsoft.com/office/drawing/2014/main" val="1896896238"/>
                    </a:ext>
                  </a:extLst>
                </a:gridCol>
                <a:gridCol w="490855">
                  <a:extLst>
                    <a:ext uri="{9D8B030D-6E8A-4147-A177-3AD203B41FA5}">
                      <a16:colId xmlns:a16="http://schemas.microsoft.com/office/drawing/2014/main" val="4173135692"/>
                    </a:ext>
                  </a:extLst>
                </a:gridCol>
              </a:tblGrid>
              <a:tr h="177538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PV of Future FCFF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>
                          <a:effectLst/>
                        </a:rPr>
                        <a:t>2497.59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373943"/>
                  </a:ext>
                </a:extLst>
              </a:tr>
              <a:tr h="177538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PV of Terminal Value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27190.05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2108615"/>
                  </a:ext>
                </a:extLst>
              </a:tr>
              <a:tr h="177538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Enterprise Value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29687.64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9770816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87BB2B56-CFD2-862D-FC52-2DB462818F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9612579"/>
              </p:ext>
            </p:extLst>
          </p:nvPr>
        </p:nvGraphicFramePr>
        <p:xfrm>
          <a:off x="2392181" y="4040304"/>
          <a:ext cx="1484631" cy="532608"/>
        </p:xfrm>
        <a:graphic>
          <a:graphicData uri="http://schemas.openxmlformats.org/drawingml/2006/table">
            <a:tbl>
              <a:tblPr>
                <a:tableStyleId>{98C629C4-6431-425F-B77E-08276FAF528A}</a:tableStyleId>
              </a:tblPr>
              <a:tblGrid>
                <a:gridCol w="804015">
                  <a:extLst>
                    <a:ext uri="{9D8B030D-6E8A-4147-A177-3AD203B41FA5}">
                      <a16:colId xmlns:a16="http://schemas.microsoft.com/office/drawing/2014/main" val="410173371"/>
                    </a:ext>
                  </a:extLst>
                </a:gridCol>
                <a:gridCol w="680616">
                  <a:extLst>
                    <a:ext uri="{9D8B030D-6E8A-4147-A177-3AD203B41FA5}">
                      <a16:colId xmlns:a16="http://schemas.microsoft.com/office/drawing/2014/main" val="3439060302"/>
                    </a:ext>
                  </a:extLst>
                </a:gridCol>
              </a:tblGrid>
              <a:tr h="17753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Less: Debt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>
                          <a:effectLst/>
                        </a:rPr>
                        <a:t>-1019.37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3601675"/>
                  </a:ext>
                </a:extLst>
              </a:tr>
              <a:tr h="17753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Add: Cash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49.01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537730"/>
                  </a:ext>
                </a:extLst>
              </a:tr>
              <a:tr h="17753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Equity Value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28717.28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148436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47E8AF4C-13FC-843F-D028-DD94FE132E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7473019"/>
              </p:ext>
            </p:extLst>
          </p:nvPr>
        </p:nvGraphicFramePr>
        <p:xfrm>
          <a:off x="4570072" y="3990274"/>
          <a:ext cx="1613535" cy="595868"/>
        </p:xfrm>
        <a:graphic>
          <a:graphicData uri="http://schemas.openxmlformats.org/drawingml/2006/table">
            <a:tbl>
              <a:tblPr>
                <a:tableStyleId>{98C629C4-6431-425F-B77E-08276FAF528A}</a:tableStyleId>
              </a:tblPr>
              <a:tblGrid>
                <a:gridCol w="1170604">
                  <a:extLst>
                    <a:ext uri="{9D8B030D-6E8A-4147-A177-3AD203B41FA5}">
                      <a16:colId xmlns:a16="http://schemas.microsoft.com/office/drawing/2014/main" val="2605315106"/>
                    </a:ext>
                  </a:extLst>
                </a:gridCol>
                <a:gridCol w="442931">
                  <a:extLst>
                    <a:ext uri="{9D8B030D-6E8A-4147-A177-3AD203B41FA5}">
                      <a16:colId xmlns:a16="http://schemas.microsoft.com/office/drawing/2014/main" val="3984201713"/>
                    </a:ext>
                  </a:extLst>
                </a:gridCol>
              </a:tblGrid>
              <a:tr h="146442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# of Shares (M)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>
                          <a:effectLst/>
                        </a:rPr>
                        <a:t>44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8605149"/>
                  </a:ext>
                </a:extLst>
              </a:tr>
              <a:tr h="151492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Value per Share (INR)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658.44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97068"/>
                  </a:ext>
                </a:extLst>
              </a:tr>
              <a:tr h="146442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CMP (13th Sep 2024)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u="none" strike="noStrike" dirty="0">
                          <a:effectLst/>
                        </a:rPr>
                        <a:t>552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330984"/>
                  </a:ext>
                </a:extLst>
              </a:tr>
              <a:tr h="151492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Upside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1" u="none" strike="noStrike" dirty="0">
                          <a:effectLst/>
                        </a:rPr>
                        <a:t>19%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771816"/>
                  </a:ext>
                </a:extLst>
              </a:tr>
            </a:tbl>
          </a:graphicData>
        </a:graphic>
      </p:graphicFrame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A681141B-0125-1F6E-5FE0-E9E5D4FFF281}"/>
              </a:ext>
            </a:extLst>
          </p:cNvPr>
          <p:cNvCxnSpPr>
            <a:cxnSpLocks/>
          </p:cNvCxnSpPr>
          <p:nvPr/>
        </p:nvCxnSpPr>
        <p:spPr>
          <a:xfrm flipV="1">
            <a:off x="1725280" y="4146406"/>
            <a:ext cx="647198" cy="37020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A31DD174-0392-BA39-E703-456441605926}"/>
              </a:ext>
            </a:extLst>
          </p:cNvPr>
          <p:cNvCxnSpPr>
            <a:cxnSpLocks/>
          </p:cNvCxnSpPr>
          <p:nvPr/>
        </p:nvCxnSpPr>
        <p:spPr>
          <a:xfrm flipV="1">
            <a:off x="3876812" y="4237410"/>
            <a:ext cx="673557" cy="27563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A93F428-C44D-CA66-653E-99D094C3B632}"/>
              </a:ext>
            </a:extLst>
          </p:cNvPr>
          <p:cNvSpPr txBox="1"/>
          <p:nvPr/>
        </p:nvSpPr>
        <p:spPr>
          <a:xfrm>
            <a:off x="2138817" y="4673225"/>
            <a:ext cx="19913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/>
              <a:t>Terminal Growth Rate = 5%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9D48F0-5C81-27FC-17A9-80B06F6C8905}"/>
              </a:ext>
            </a:extLst>
          </p:cNvPr>
          <p:cNvSpPr/>
          <p:nvPr/>
        </p:nvSpPr>
        <p:spPr>
          <a:xfrm>
            <a:off x="106679" y="3773273"/>
            <a:ext cx="6189345" cy="158288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dirty="0"/>
              <a:t>Derivation of DCF Valuation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59D31863-7489-11A0-0AED-58105D106C7B}"/>
              </a:ext>
            </a:extLst>
          </p:cNvPr>
          <p:cNvSpPr/>
          <p:nvPr/>
        </p:nvSpPr>
        <p:spPr>
          <a:xfrm rot="18696046">
            <a:off x="1987417" y="4718261"/>
            <a:ext cx="200896" cy="121406"/>
          </a:xfrm>
          <a:prstGeom prst="rightArrow">
            <a:avLst/>
          </a:prstGeom>
          <a:ln w="12700"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DB1DEE-3CFA-B892-C218-AB867988E6EB}"/>
              </a:ext>
            </a:extLst>
          </p:cNvPr>
          <p:cNvSpPr/>
          <p:nvPr/>
        </p:nvSpPr>
        <p:spPr>
          <a:xfrm>
            <a:off x="6348415" y="3773273"/>
            <a:ext cx="2749548" cy="158288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900" dirty="0"/>
              <a:t>Key Risk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27478B-F40B-7589-D9CC-FF8B8F5E0A1A}"/>
              </a:ext>
            </a:extLst>
          </p:cNvPr>
          <p:cNvSpPr txBox="1"/>
          <p:nvPr/>
        </p:nvSpPr>
        <p:spPr>
          <a:xfrm>
            <a:off x="6349602" y="3950047"/>
            <a:ext cx="2735242" cy="919565"/>
          </a:xfrm>
          <a:prstGeom prst="rect">
            <a:avLst/>
          </a:prstGeom>
          <a:noFill/>
          <a:ln w="12700">
            <a:solidFill>
              <a:schemeClr val="tx1"/>
            </a:solidFill>
            <a:prstDash val="lgDash"/>
          </a:ln>
        </p:spPr>
        <p:txBody>
          <a:bodyPr wrap="square" rtlCol="0">
            <a:noAutofit/>
          </a:bodyPr>
          <a:lstStyle/>
          <a:p>
            <a:pPr marL="228600" lvl="3" indent="-228600">
              <a:buAutoNum type="arabicPeriod"/>
            </a:pPr>
            <a:r>
              <a:rPr lang="en-IN" sz="800" dirty="0"/>
              <a:t>Decline of utilisation in AP hospitals.</a:t>
            </a:r>
          </a:p>
          <a:p>
            <a:pPr marL="228600" lvl="3" indent="-228600">
              <a:buAutoNum type="arabicPeriod"/>
            </a:pPr>
            <a:r>
              <a:rPr lang="en-IN" sz="800" dirty="0"/>
              <a:t>Exodus of key doctors from the flagship hospital in </a:t>
            </a:r>
            <a:r>
              <a:rPr lang="en-IN" sz="800" dirty="0" err="1"/>
              <a:t>Secunderabad</a:t>
            </a:r>
            <a:r>
              <a:rPr lang="en-IN" sz="800" dirty="0"/>
              <a:t>.</a:t>
            </a:r>
          </a:p>
          <a:p>
            <a:pPr marL="228600" lvl="3" indent="-228600">
              <a:buAutoNum type="arabicPeriod"/>
            </a:pPr>
            <a:r>
              <a:rPr lang="en-IN" sz="800" dirty="0"/>
              <a:t>Impact on gross margin from inflation in medical consumables.</a:t>
            </a:r>
          </a:p>
          <a:p>
            <a:pPr marL="228600" lvl="3" indent="-228600">
              <a:buAutoNum type="arabicPeriod"/>
            </a:pPr>
            <a:r>
              <a:rPr lang="en-IN" sz="800" dirty="0"/>
              <a:t>Decline in ARPOB from Hyderabad cluster due to declining demand for complex procedures.  </a:t>
            </a:r>
          </a:p>
        </p:txBody>
      </p:sp>
    </p:spTree>
    <p:extLst>
      <p:ext uri="{BB962C8B-B14F-4D97-AF65-F5344CB8AC3E}">
        <p14:creationId xmlns:p14="http://schemas.microsoft.com/office/powerpoint/2010/main" val="444744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3288988-0255-97E8-9344-348E204C04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7781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3" progId="TCLayout.ActiveDocument.1">
                  <p:embed/>
                </p:oleObj>
              </mc:Choice>
              <mc:Fallback>
                <p:oleObj name="think-cell Slide" r:id="rId3" imgW="471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oogle Shape;618;p45">
            <a:extLst>
              <a:ext uri="{FF2B5EF4-FFF2-40B4-BE49-F238E27FC236}">
                <a16:creationId xmlns:a16="http://schemas.microsoft.com/office/drawing/2014/main" id="{BE27BA80-77CB-6AC7-1ABE-702EC3CFEFA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7513" y="871762"/>
            <a:ext cx="4947900" cy="1097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800" dirty="0"/>
              <a:t>THANKS!</a:t>
            </a:r>
            <a:endParaRPr sz="4800" dirty="0"/>
          </a:p>
        </p:txBody>
      </p:sp>
      <p:sp>
        <p:nvSpPr>
          <p:cNvPr id="8" name="Google Shape;617;p45">
            <a:extLst>
              <a:ext uri="{FF2B5EF4-FFF2-40B4-BE49-F238E27FC236}">
                <a16:creationId xmlns:a16="http://schemas.microsoft.com/office/drawing/2014/main" id="{2AE31C31-935B-0D7E-4F0B-9A99776E6B7F}"/>
              </a:ext>
            </a:extLst>
          </p:cNvPr>
          <p:cNvSpPr txBox="1">
            <a:spLocks/>
          </p:cNvSpPr>
          <p:nvPr/>
        </p:nvSpPr>
        <p:spPr>
          <a:xfrm>
            <a:off x="767513" y="1739656"/>
            <a:ext cx="4951500" cy="914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chemeClr val="dk1"/>
              </a:buClr>
              <a:buSzPts val="1100"/>
            </a:pPr>
            <a:endParaRPr lang="en-GB" dirty="0">
              <a:solidFill>
                <a:schemeClr val="tx1"/>
              </a:solidFill>
            </a:endParaRPr>
          </a:p>
          <a:p>
            <a:pPr>
              <a:buClr>
                <a:schemeClr val="dk1"/>
              </a:buClr>
              <a:buSzPts val="1100"/>
            </a:pPr>
            <a:r>
              <a:rPr lang="en-GB" dirty="0">
                <a:solidFill>
                  <a:schemeClr val="tx1"/>
                </a:solidFill>
              </a:rPr>
              <a:t>Aryan Rastogi</a:t>
            </a:r>
          </a:p>
          <a:p>
            <a:pPr>
              <a:buClr>
                <a:schemeClr val="dk1"/>
              </a:buClr>
              <a:buSzPts val="1100"/>
            </a:pPr>
            <a:endParaRPr lang="en-GB" dirty="0">
              <a:solidFill>
                <a:schemeClr val="tx1"/>
              </a:solidFill>
            </a:endParaRPr>
          </a:p>
          <a:p>
            <a:pPr>
              <a:buClr>
                <a:schemeClr val="dk1"/>
              </a:buClr>
              <a:buSzPts val="1100"/>
            </a:pPr>
            <a:r>
              <a:rPr lang="en-GB" dirty="0">
                <a:solidFill>
                  <a:schemeClr val="tx1"/>
                </a:solidFill>
              </a:rPr>
              <a:t>PGP – 1</a:t>
            </a:r>
          </a:p>
          <a:p>
            <a:pPr>
              <a:buClr>
                <a:schemeClr val="dk1"/>
              </a:buClr>
              <a:buSzPts val="1100"/>
            </a:pPr>
            <a:r>
              <a:rPr lang="en-GB" dirty="0">
                <a:solidFill>
                  <a:schemeClr val="tx1"/>
                </a:solidFill>
              </a:rPr>
              <a:t>IIM AHMEDABAD</a:t>
            </a:r>
          </a:p>
          <a:p>
            <a:pPr>
              <a:buClr>
                <a:schemeClr val="dk1"/>
              </a:buClr>
              <a:buSzPts val="1100"/>
            </a:pPr>
            <a:r>
              <a:rPr lang="en-GB" dirty="0">
                <a:solidFill>
                  <a:schemeClr val="tx1"/>
                </a:solidFill>
              </a:rPr>
              <a:t>Roll Number – PGPGC202400213</a:t>
            </a:r>
          </a:p>
          <a:p>
            <a:pPr>
              <a:buSzPts val="1100"/>
            </a:pPr>
            <a:r>
              <a:rPr lang="en-GB" dirty="0">
                <a:solidFill>
                  <a:schemeClr val="tx1"/>
                </a:solidFill>
              </a:rPr>
              <a:t>Email: p24aryan@iima.ac.in</a:t>
            </a:r>
          </a:p>
          <a:p>
            <a:pPr>
              <a:buSzPts val="1100"/>
            </a:pPr>
            <a:r>
              <a:rPr lang="en-GB" dirty="0">
                <a:solidFill>
                  <a:schemeClr val="tx1"/>
                </a:solidFill>
              </a:rPr>
              <a:t> </a:t>
            </a:r>
          </a:p>
          <a:p>
            <a:pPr>
              <a:buClr>
                <a:schemeClr val="dk1"/>
              </a:buClr>
              <a:buSzPts val="1100"/>
            </a:pP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9" name="Picture 6" descr="linkedin&quot; Icon - Download for free – Iconduck">
            <a:hlinkClick r:id="rId5"/>
            <a:extLst>
              <a:ext uri="{FF2B5EF4-FFF2-40B4-BE49-F238E27FC236}">
                <a16:creationId xmlns:a16="http://schemas.microsoft.com/office/drawing/2014/main" id="{83BAE3A1-A454-A10F-AB7C-6C0831D4D5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12" y="3414699"/>
            <a:ext cx="196833" cy="196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4C47C5F2-3412-1873-5CCD-FC60CC3AD9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7282" y="1420462"/>
            <a:ext cx="3882501" cy="1732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9466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50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HgbwZlZCRhAO_Ph9GN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v4GzuthOtU8lisTkja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uiMBneDBO6nkHpKl4E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1HIFCmTrqnAwP1576Z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kL0qazrPuh6dpQ910z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n6uSJ.HbDXw7X.e3tp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TZymRIEjsJJkLzAa1K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i5vB6LjooD50JXZed2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X4xxfqWfyHrwisQYQw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GdSCkl1jMOjXa_lDmo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RDV9GjK.Hpg8EcXK4Z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XbEDvD13Yp9S8OAMWm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n5c7HqM8x3SUJADNRD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ztI0HeL.reTdqu0hnS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dYU_AOYtMucrbXwLpz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TEwlkzDZ.E9V7P3FzH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dwW546W4B79sI.eUOU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DN4fAsuXX8WHLPMtes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a2t1sOV66wRni08VM8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BB.JQ9XwS6h2v.dP1I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vsWgtEvkklzmol0LOlu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YHo83VItFd27JaZN826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507DM3yQoeEsIT5U.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u9MIz3e6DD0TF5Hu1N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Knhn4L4_tMwQRKm5GZ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r1ScjriHbN446Z4WlD5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.Ht9Iu23dotByBDNUV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5w4FtPMZP8jLtHjfFa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KLx9pqWX27AvWkAlj1u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Cq7c8HrV97rw8c8Z8.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qmWALYOUPK7JEIkBPF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ES19PSCZvaLBEHKxqJ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B2Aoi5l3xtD5Pv2xEf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SvIiRkoxgOzFHQQ9XF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iWdneHaw.lLHv01MWS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xupDneB3sLnHc3C.Aj_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CjPSx4.VvkY6mm1Hi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8dA5z_huNovEQH_kY4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l.Yvh0yuCj.7wIgsm3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8GQKQ2vHxeHcZdl7OH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E6jB9zH28od1RJ5nn8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_tIKpQPjFyTWknNtG0s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Dcf0tBtfqLfM_g4Cm.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SpNRw9pyc6UPi3mS40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KPgauII4iP6I0NKSgy3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KGe8wnysAwotk330snB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EiSyJFXqpfun2DcS8tT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pDVCdX84q.lJ4nlVduN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AbgG0dn8sWkJ.oE0FDs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qMcmNqQVw4IU.uibAd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t_ecqEUEl8z8A2nLFPZ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GZG_2fMT9TYPWAUkhH7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KbMOM_d4F2PCrtf.FtM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_rSYMNOiSK2_9wRrx_k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xVgfaoxhTKiiqCwg5Fq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fVzJEO4A0AvYxFVHvxX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YJKK6GzF4vJmMFOImS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j3gl8e3_gsbe._sCojN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cePE54CrUrKGqCCjfe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a2tJaxQWlW_D5HqnFPN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6_AYaW5OXV7ZjMyJVY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ZHz50_KEDYW5R6HdbWF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1gn2_3tPFzfGWtLYol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TFhYViS4938e58lvi3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yppPiEabk9vEnq62wYM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CZgzM.jiSjlsLGs5eUr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TRAq8.ze50m9tYdN6K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vXIKNy55XF3hGQ2dPjh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auomUyVowfCdSWAz8S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W.ELNRGx6vOQuZxPe89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zqjE8U2EKlZ9Sk9lMVj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IIO3l75bFsGwo505gt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zksrHBNV0eWHc9Pj8b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2I0aHfoLPD6ZV54nkq_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5Ka1plrJq8ehYa7y6Y0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4T4465PnOdS7yZJ4PON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nqewAiNUa8oyg7gG.Vc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buXgSyco2N_eBhYOT74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g8A3bQqEbMd7rpS5PLO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AsuUMFIqjqU2Zo4lXZ5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n80XGa17i5vyt0FrTXb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rnational Trade Infographics by Slidesgo">
  <a:themeElements>
    <a:clrScheme name="Simple Light">
      <a:dk1>
        <a:srgbClr val="000000"/>
      </a:dk1>
      <a:lt1>
        <a:srgbClr val="FFFFFF"/>
      </a:lt1>
      <a:dk2>
        <a:srgbClr val="6541CE"/>
      </a:dk2>
      <a:lt2>
        <a:srgbClr val="8B7CFD"/>
      </a:lt2>
      <a:accent1>
        <a:srgbClr val="B0A1FF"/>
      </a:accent1>
      <a:accent2>
        <a:srgbClr val="C5B8F1"/>
      </a:accent2>
      <a:accent3>
        <a:srgbClr val="ECBC92"/>
      </a:accent3>
      <a:accent4>
        <a:srgbClr val="EC9B5B"/>
      </a:accent4>
      <a:accent5>
        <a:srgbClr val="D66E2D"/>
      </a:accent5>
      <a:accent6>
        <a:srgbClr val="E6D6CD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31</TotalTime>
  <Words>1979</Words>
  <Application>Microsoft Office PowerPoint</Application>
  <PresentationFormat>On-screen Show (16:9)</PresentationFormat>
  <Paragraphs>822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Fira Sans Extra Condensed Medium</vt:lpstr>
      <vt:lpstr>Century Gothic</vt:lpstr>
      <vt:lpstr>Google Sans</vt:lpstr>
      <vt:lpstr>Times New Roman</vt:lpstr>
      <vt:lpstr>Roboto</vt:lpstr>
      <vt:lpstr>Fira Sans Extra Condensed</vt:lpstr>
      <vt:lpstr>Fira Sans Extra Condensed SemiBold</vt:lpstr>
      <vt:lpstr>Aptos Narrow</vt:lpstr>
      <vt:lpstr>International Trade Infographics by Slidesgo</vt:lpstr>
      <vt:lpstr>think-cell Slide</vt:lpstr>
      <vt:lpstr>Stock Analysis  Krishna Institute of Medical Sciences Ltd (KIMS)</vt:lpstr>
      <vt:lpstr>Industry Overview</vt:lpstr>
      <vt:lpstr>Company Overview</vt:lpstr>
      <vt:lpstr>Peer Benchmarking</vt:lpstr>
      <vt:lpstr>Valuation</vt:lpstr>
      <vt:lpstr>Valuation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Rastogi A</dc:creator>
  <cp:lastModifiedBy>Aryan Rastogi</cp:lastModifiedBy>
  <cp:revision>8</cp:revision>
  <dcterms:modified xsi:type="dcterms:W3CDTF">2024-09-17T08:36:27Z</dcterms:modified>
</cp:coreProperties>
</file>